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17"/>
  </p:notesMasterIdLst>
  <p:handoutMasterIdLst>
    <p:handoutMasterId r:id="rId18"/>
  </p:handoutMasterIdLst>
  <p:sldIdLst>
    <p:sldId id="257" r:id="rId2"/>
    <p:sldId id="276" r:id="rId3"/>
    <p:sldId id="262" r:id="rId4"/>
    <p:sldId id="261" r:id="rId5"/>
    <p:sldId id="275" r:id="rId6"/>
    <p:sldId id="271" r:id="rId7"/>
    <p:sldId id="267" r:id="rId8"/>
    <p:sldId id="266" r:id="rId9"/>
    <p:sldId id="263" r:id="rId10"/>
    <p:sldId id="273" r:id="rId11"/>
    <p:sldId id="264" r:id="rId12"/>
    <p:sldId id="265" r:id="rId13"/>
    <p:sldId id="268" r:id="rId14"/>
    <p:sldId id="274" r:id="rId15"/>
    <p:sldId id="269" r:id="rId16"/>
  </p:sldIdLst>
  <p:sldSz cx="9144000" cy="5143500" type="screen16x9"/>
  <p:notesSz cx="6858000" cy="9144000"/>
  <p:custDataLst>
    <p:tags r:id="rId19"/>
  </p:custDataLst>
  <p:defaultTextStyle>
    <a:defPPr>
      <a:defRPr lang="en-US"/>
    </a:defPPr>
    <a:lvl1pPr marL="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BEFF"/>
    <a:srgbClr val="765690"/>
    <a:srgbClr val="A302E4"/>
    <a:srgbClr val="2800D2"/>
    <a:srgbClr val="FC68E7"/>
    <a:srgbClr val="0068E6"/>
    <a:srgbClr val="2C00E6"/>
    <a:srgbClr val="65FFE2"/>
    <a:srgbClr val="8D2349"/>
    <a:srgbClr val="C6C6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6327"/>
  </p:normalViewPr>
  <p:slideViewPr>
    <p:cSldViewPr snapToGrid="0" snapToObjects="1">
      <p:cViewPr varScale="1">
        <p:scale>
          <a:sx n="207" d="100"/>
          <a:sy n="207" d="100"/>
        </p:scale>
        <p:origin x="450" y="16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92" d="100"/>
          <a:sy n="92" d="100"/>
        </p:scale>
        <p:origin x="4424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74A2AE0C-787F-F048-9C7F-3941E4EB579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0B1DD56-F818-B34B-B289-B42F1002BE0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B111F-537A-A44D-9077-472A5CE198C7}" type="datetimeFigureOut">
              <a:rPr lang="de-DE" smtClean="0"/>
              <a:t>16.09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1B576C4-CFDB-6F4F-9FD0-F03A6878FB4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0249998-FB07-7E46-B780-C47CBBDA244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7649B8-39F8-2343-A333-6A7A78DE25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19277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DA1E77-5117-B348-899E-C7E9C4D9F712}" type="datetimeFigureOut">
              <a:rPr lang="de-DE" smtClean="0"/>
              <a:t>16.09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489D3D-26F7-E94A-85B1-4DC7A85B894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14043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es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92926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es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92307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Hintergrund-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9965DD35-5C85-6648-9C88-0D668666637A}"/>
              </a:ext>
            </a:extLst>
          </p:cNvPr>
          <p:cNvSpPr/>
          <p:nvPr userDrawn="1"/>
        </p:nvSpPr>
        <p:spPr>
          <a:xfrm>
            <a:off x="0" y="408994"/>
            <a:ext cx="9144000" cy="47345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06" y="0"/>
            <a:ext cx="9142789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9873" y="420856"/>
            <a:ext cx="2008708" cy="532687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6500" y="517181"/>
            <a:ext cx="2285359" cy="325320"/>
          </a:xfrm>
          <a:prstGeom prst="rect">
            <a:avLst/>
          </a:prstGeom>
        </p:spPr>
      </p:pic>
      <p:sp>
        <p:nvSpPr>
          <p:cNvPr id="21" name="Textplatzhalter 41">
            <a:extLst>
              <a:ext uri="{FF2B5EF4-FFF2-40B4-BE49-F238E27FC236}">
                <a16:creationId xmlns:a16="http://schemas.microsoft.com/office/drawing/2014/main" id="{1ED3004E-4F4C-5B4F-A4BF-82D42CBA6C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82679" y="1725555"/>
            <a:ext cx="5770930" cy="377026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20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22" name="Textplatzhalter 41">
            <a:extLst>
              <a:ext uri="{FF2B5EF4-FFF2-40B4-BE49-F238E27FC236}">
                <a16:creationId xmlns:a16="http://schemas.microsoft.com/office/drawing/2014/main" id="{CA834713-C1E5-0D46-8CD8-530742F6A36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82679" y="2186519"/>
            <a:ext cx="5770930" cy="25391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Vorstellung bei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am 01.02.2020</a:t>
            </a:r>
          </a:p>
        </p:txBody>
      </p:sp>
      <p:pic>
        <p:nvPicPr>
          <p:cNvPr id="2" name="Picture 2" descr="G:\Mafos\Huffer\BHu2020\gemeinsames Template PPT\final\Logos\SHS - Stahl-Holding-Saar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69903" y="976922"/>
            <a:ext cx="3703910" cy="4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9114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2x links mit Headline und schmales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0000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41">
            <a:extLst>
              <a:ext uri="{FF2B5EF4-FFF2-40B4-BE49-F238E27FC236}">
                <a16:creationId xmlns:a16="http://schemas.microsoft.com/office/drawing/2014/main" id="{B9380605-3624-9F41-84C7-15AF3354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5689722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Textplatzhalter 46">
            <a:extLst>
              <a:ext uri="{FF2B5EF4-FFF2-40B4-BE49-F238E27FC236}">
                <a16:creationId xmlns:a16="http://schemas.microsoft.com/office/drawing/2014/main" id="{F4185694-761D-9A4F-97C9-3545E8817C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5689722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DB23B1A-9187-4AC2-A6E8-256A7CA6F393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12" name="Textplatzhalter 46">
            <a:extLst>
              <a:ext uri="{FF2B5EF4-FFF2-40B4-BE49-F238E27FC236}">
                <a16:creationId xmlns:a16="http://schemas.microsoft.com/office/drawing/2014/main" id="{D670A6B9-486E-DE47-8A3F-9760FB548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4000" y="2821500"/>
            <a:ext cx="5689722" cy="272816"/>
          </a:xfrm>
          <a:prstGeom prst="rect">
            <a:avLst/>
          </a:prstGeom>
        </p:spPr>
        <p:txBody>
          <a:bodyPr wrap="square" lIns="68580" tIns="34290" rIns="68580" bIns="34290" numCol="2">
            <a:spAutoFit/>
          </a:bodyPr>
          <a:lstStyle>
            <a:lvl1pPr marL="214313" marR="0" indent="-214313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8690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links mit Headline (4x) und schmales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78487" y="756000"/>
            <a:ext cx="2041513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41">
            <a:extLst>
              <a:ext uri="{FF2B5EF4-FFF2-40B4-BE49-F238E27FC236}">
                <a16:creationId xmlns:a16="http://schemas.microsoft.com/office/drawing/2014/main" id="{B9380605-3624-9F41-84C7-15AF3354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4000326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Textplatzhalter 46">
            <a:extLst>
              <a:ext uri="{FF2B5EF4-FFF2-40B4-BE49-F238E27FC236}">
                <a16:creationId xmlns:a16="http://schemas.microsoft.com/office/drawing/2014/main" id="{F4185694-761D-9A4F-97C9-3545E8817C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949532"/>
            <a:ext cx="4000326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7A493B6-C0AD-49FB-AEAE-DFD93FEC1EA3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20" name="Textplatzhalter 41">
            <a:extLst>
              <a:ext uri="{FF2B5EF4-FFF2-40B4-BE49-F238E27FC236}">
                <a16:creationId xmlns:a16="http://schemas.microsoft.com/office/drawing/2014/main" id="{244B6997-5877-D245-B666-400CC0BB699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34327" y="697888"/>
            <a:ext cx="246464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</a:t>
            </a:r>
          </a:p>
        </p:txBody>
      </p:sp>
      <p:sp>
        <p:nvSpPr>
          <p:cNvPr id="21" name="Textplatzhalter 46">
            <a:extLst>
              <a:ext uri="{FF2B5EF4-FFF2-40B4-BE49-F238E27FC236}">
                <a16:creationId xmlns:a16="http://schemas.microsoft.com/office/drawing/2014/main" id="{E96D37C8-BAE9-E244-854C-09E43E55041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234325" y="949532"/>
            <a:ext cx="246464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22" name="Textplatzhalter 41">
            <a:extLst>
              <a:ext uri="{FF2B5EF4-FFF2-40B4-BE49-F238E27FC236}">
                <a16:creationId xmlns:a16="http://schemas.microsoft.com/office/drawing/2014/main" id="{82F7F0E5-A895-8140-8EB0-24D12AFEBF0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4001" y="3016190"/>
            <a:ext cx="4000326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23" name="Textplatzhalter 46">
            <a:extLst>
              <a:ext uri="{FF2B5EF4-FFF2-40B4-BE49-F238E27FC236}">
                <a16:creationId xmlns:a16="http://schemas.microsoft.com/office/drawing/2014/main" id="{3AA57C1A-C2FA-B344-AF54-03374595061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4000" y="3267835"/>
            <a:ext cx="4000326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24" name="Textplatzhalter 41">
            <a:extLst>
              <a:ext uri="{FF2B5EF4-FFF2-40B4-BE49-F238E27FC236}">
                <a16:creationId xmlns:a16="http://schemas.microsoft.com/office/drawing/2014/main" id="{2525E463-BF65-0841-8751-A9232DB2030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34327" y="3016190"/>
            <a:ext cx="246464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</a:t>
            </a:r>
          </a:p>
        </p:txBody>
      </p:sp>
      <p:sp>
        <p:nvSpPr>
          <p:cNvPr id="25" name="Textplatzhalter 46">
            <a:extLst>
              <a:ext uri="{FF2B5EF4-FFF2-40B4-BE49-F238E27FC236}">
                <a16:creationId xmlns:a16="http://schemas.microsoft.com/office/drawing/2014/main" id="{7700D6C6-2C9C-5440-AE8F-A04BC73D3B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234325" y="3267835"/>
            <a:ext cx="246464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85934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rechts mit Headline und schmales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5609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41">
            <a:extLst>
              <a:ext uri="{FF2B5EF4-FFF2-40B4-BE49-F238E27FC236}">
                <a16:creationId xmlns:a16="http://schemas.microsoft.com/office/drawing/2014/main" id="{B9380605-3624-9F41-84C7-15AF3354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0216" y="697888"/>
            <a:ext cx="5589783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Textplatzhalter 46">
            <a:extLst>
              <a:ext uri="{FF2B5EF4-FFF2-40B4-BE49-F238E27FC236}">
                <a16:creationId xmlns:a16="http://schemas.microsoft.com/office/drawing/2014/main" id="{F4185694-761D-9A4F-97C9-3545E8817C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30216" y="1107001"/>
            <a:ext cx="5589783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904B3CD-E2B2-4C2D-A136-AD33C9D4D7F8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6939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x Text rechts mit Headline und schmales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5609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8C6B73E-2377-4D37-834F-82F854251A1A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18" name="Textplatzhalter 41">
            <a:extLst>
              <a:ext uri="{FF2B5EF4-FFF2-40B4-BE49-F238E27FC236}">
                <a16:creationId xmlns:a16="http://schemas.microsoft.com/office/drawing/2014/main" id="{BDA40EE1-F184-D443-8CF7-48E0718B445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30215" y="697889"/>
            <a:ext cx="270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9" name="Textplatzhalter 46">
            <a:extLst>
              <a:ext uri="{FF2B5EF4-FFF2-40B4-BE49-F238E27FC236}">
                <a16:creationId xmlns:a16="http://schemas.microsoft.com/office/drawing/2014/main" id="{726F3A1F-4DA0-3D4D-9D75-5738C114E72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30214" y="1107001"/>
            <a:ext cx="2700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20" name="Textplatzhalter 41">
            <a:extLst>
              <a:ext uri="{FF2B5EF4-FFF2-40B4-BE49-F238E27FC236}">
                <a16:creationId xmlns:a16="http://schemas.microsoft.com/office/drawing/2014/main" id="{EBCFAD3D-DD28-0949-89D5-5330F79D3A3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73215" y="697889"/>
            <a:ext cx="266517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21" name="Textplatzhalter 46">
            <a:extLst>
              <a:ext uri="{FF2B5EF4-FFF2-40B4-BE49-F238E27FC236}">
                <a16:creationId xmlns:a16="http://schemas.microsoft.com/office/drawing/2014/main" id="{41D21E79-37E7-F543-948B-D70F6DFE84C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73214" y="1107001"/>
            <a:ext cx="266517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36869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oben mit Headline und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7"/>
            <a:ext cx="8586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8586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7870" y="2348119"/>
            <a:ext cx="8475174" cy="217438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859BCDE9-D454-4ABF-8A21-98EC818B1C6E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17141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oben mit Headline und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7"/>
            <a:ext cx="8586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8586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7871" y="2348119"/>
            <a:ext cx="4084982" cy="217438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9F6D2D9-B26A-4B4B-8DEB-E3F0C9E6586D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D46A23EF-49AD-4143-8C16-8A03848EED5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735018" y="2348119"/>
            <a:ext cx="4084982" cy="217438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88509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x Bild mit Headlin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2485390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2775235"/>
            <a:ext cx="4140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2"/>
            <a:ext cx="4140000" cy="1621962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EF2D43E2-33BF-41E2-8988-8978FB7BE6F8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10" name="Textplatzhalter 41">
            <a:extLst>
              <a:ext uri="{FF2B5EF4-FFF2-40B4-BE49-F238E27FC236}">
                <a16:creationId xmlns:a16="http://schemas.microsoft.com/office/drawing/2014/main" id="{3BF519DD-192B-1C48-AD5D-6D1A16DB2C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00488" y="2485390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1" name="Textplatzhalter 46">
            <a:extLst>
              <a:ext uri="{FF2B5EF4-FFF2-40B4-BE49-F238E27FC236}">
                <a16:creationId xmlns:a16="http://schemas.microsoft.com/office/drawing/2014/main" id="{640D9BEE-04AF-0A40-8593-1AC0308866C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00487" y="2775235"/>
            <a:ext cx="4140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6" name="Bildplatzhalter 2">
            <a:extLst>
              <a:ext uri="{FF2B5EF4-FFF2-40B4-BE49-F238E27FC236}">
                <a16:creationId xmlns:a16="http://schemas.microsoft.com/office/drawing/2014/main" id="{3301D1D7-3478-624D-9338-2B6D375E55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80000" y="733612"/>
            <a:ext cx="4140000" cy="1621962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09346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x Bild mit Headline und Text (4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2063480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2"/>
            <a:ext cx="4140000" cy="118911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2F0AE24-04D3-4F60-9ADA-A27FD34B1EA1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16" name="Bildplatzhalter 2">
            <a:extLst>
              <a:ext uri="{FF2B5EF4-FFF2-40B4-BE49-F238E27FC236}">
                <a16:creationId xmlns:a16="http://schemas.microsoft.com/office/drawing/2014/main" id="{3301D1D7-3478-624D-9338-2B6D375E55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80000" y="733612"/>
            <a:ext cx="4140000" cy="118911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8" name="Textplatzhalter 41">
            <a:extLst>
              <a:ext uri="{FF2B5EF4-FFF2-40B4-BE49-F238E27FC236}">
                <a16:creationId xmlns:a16="http://schemas.microsoft.com/office/drawing/2014/main" id="{B7F01550-C20C-7647-B4A5-C2D997D8D1C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34001" y="2257755"/>
            <a:ext cx="4140000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1" name="Textplatzhalter 41">
            <a:extLst>
              <a:ext uri="{FF2B5EF4-FFF2-40B4-BE49-F238E27FC236}">
                <a16:creationId xmlns:a16="http://schemas.microsoft.com/office/drawing/2014/main" id="{88CA1FB5-9790-3A4C-945F-5A527D0D2EC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587340" y="2063480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6D448B81-7038-3F4E-AE17-EDEC03D4AE7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587340" y="2257755"/>
            <a:ext cx="4140000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3" name="Textplatzhalter 41">
            <a:extLst>
              <a:ext uri="{FF2B5EF4-FFF2-40B4-BE49-F238E27FC236}">
                <a16:creationId xmlns:a16="http://schemas.microsoft.com/office/drawing/2014/main" id="{D4EB633E-B64F-D84F-A14B-AA243AE51A2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34001" y="3546893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4" name="Textplatzhalter 41">
            <a:extLst>
              <a:ext uri="{FF2B5EF4-FFF2-40B4-BE49-F238E27FC236}">
                <a16:creationId xmlns:a16="http://schemas.microsoft.com/office/drawing/2014/main" id="{6A0E17F6-BC74-3249-82A3-4BC272D99A7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234001" y="3741168"/>
            <a:ext cx="4140000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5" name="Textplatzhalter 41">
            <a:extLst>
              <a:ext uri="{FF2B5EF4-FFF2-40B4-BE49-F238E27FC236}">
                <a16:creationId xmlns:a16="http://schemas.microsoft.com/office/drawing/2014/main" id="{F75F5F66-3DE8-B94F-B78B-16A952BD0B5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587340" y="3546893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6" name="Textplatzhalter 41">
            <a:extLst>
              <a:ext uri="{FF2B5EF4-FFF2-40B4-BE49-F238E27FC236}">
                <a16:creationId xmlns:a16="http://schemas.microsoft.com/office/drawing/2014/main" id="{7A90A033-0D31-DE43-8923-A2F7D810AA8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587340" y="3741168"/>
            <a:ext cx="4140000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52981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rechts mit Headline und schmales Bild links sowie 3 rund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5609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EE36181-0326-44FE-B68A-1FC7A46D2DC6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824E80C9-A3DB-524F-84FB-D698676E90B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230216" y="3265004"/>
            <a:ext cx="1258200" cy="1258200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17">
            <a:extLst>
              <a:ext uri="{FF2B5EF4-FFF2-40B4-BE49-F238E27FC236}">
                <a16:creationId xmlns:a16="http://schemas.microsoft.com/office/drawing/2014/main" id="{1CBC08E7-DE1D-334B-8927-4925C7971A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96006" y="3265004"/>
            <a:ext cx="1258200" cy="1257495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17">
            <a:extLst>
              <a:ext uri="{FF2B5EF4-FFF2-40B4-BE49-F238E27FC236}">
                <a16:creationId xmlns:a16="http://schemas.microsoft.com/office/drawing/2014/main" id="{8A61D413-D433-D143-8EEC-86EFCF56E60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561798" y="3265004"/>
            <a:ext cx="1258200" cy="1257495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Textplatzhalter 41">
            <a:extLst>
              <a:ext uri="{FF2B5EF4-FFF2-40B4-BE49-F238E27FC236}">
                <a16:creationId xmlns:a16="http://schemas.microsoft.com/office/drawing/2014/main" id="{E183786A-8CAB-DA4F-988A-B14D7D588D6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30216" y="697888"/>
            <a:ext cx="5589783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24" name="Textplatzhalter 46">
            <a:extLst>
              <a:ext uri="{FF2B5EF4-FFF2-40B4-BE49-F238E27FC236}">
                <a16:creationId xmlns:a16="http://schemas.microsoft.com/office/drawing/2014/main" id="{D04280F3-04C2-294B-9266-68E7C4083C5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30215" y="1107001"/>
            <a:ext cx="5589783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16605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links mit Headline und 3x runde Bilder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4338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4338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802C932-8694-4D47-8036-E73AF92D3C8E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10" name="Bildplatzhalter 17">
            <a:extLst>
              <a:ext uri="{FF2B5EF4-FFF2-40B4-BE49-F238E27FC236}">
                <a16:creationId xmlns:a16="http://schemas.microsoft.com/office/drawing/2014/main" id="{FC13D9C5-5CA4-0B45-9ABD-EA38DD7DF03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306487" y="697888"/>
            <a:ext cx="1587600" cy="1587600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17">
            <a:extLst>
              <a:ext uri="{FF2B5EF4-FFF2-40B4-BE49-F238E27FC236}">
                <a16:creationId xmlns:a16="http://schemas.microsoft.com/office/drawing/2014/main" id="{51D8C4BE-A11D-114C-A259-8F3C67569D8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06487" y="3009005"/>
            <a:ext cx="1587600" cy="1588404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6" name="Bildplatzhalter 17">
            <a:extLst>
              <a:ext uri="{FF2B5EF4-FFF2-40B4-BE49-F238E27FC236}">
                <a16:creationId xmlns:a16="http://schemas.microsoft.com/office/drawing/2014/main" id="{0866A54E-CEB5-4B45-8520-62AB037DFC4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232400" y="1777548"/>
            <a:ext cx="1587600" cy="1588404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1949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riftdefin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41">
            <a:extLst>
              <a:ext uri="{FF2B5EF4-FFF2-40B4-BE49-F238E27FC236}">
                <a16:creationId xmlns:a16="http://schemas.microsoft.com/office/drawing/2014/main" id="{9131D5EE-EDDD-7446-BC0A-DA34F4CF344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4001" y="697888"/>
            <a:ext cx="4338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Zwischenheadline in Arial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5" name="Textplatzhalter 46">
            <a:extLst>
              <a:ext uri="{FF2B5EF4-FFF2-40B4-BE49-F238E27FC236}">
                <a16:creationId xmlns:a16="http://schemas.microsoft.com/office/drawing/2014/main" id="{6596D7CA-90B9-5741-8B75-5B30C2B472A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4000" y="1107000"/>
            <a:ext cx="4338000" cy="72327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Für den Fließtext sollte Arial Regular verwendet werden. Einzelne Wörter könnte mit dem </a:t>
            </a:r>
            <a:r>
              <a:rPr lang="de-DE" sz="1200" kern="1200" baseline="0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Bold</a:t>
            </a:r>
            <a:r>
              <a:rPr lang="de-DE" sz="1200" kern="1200" baseline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-Schnitt hervorgehoben werden.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6A974882-8A0E-0645-954D-237E023197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019601"/>
            <a:ext cx="4338000" cy="24878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350"/>
              </a:lnSpc>
              <a:spcBef>
                <a:spcPts val="0"/>
              </a:spcBef>
              <a:buFontTx/>
              <a:buNone/>
              <a:defRPr sz="1000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Beschriftungen, Zusatzinfos in Arial Regular 13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BA91D8C-755B-F94C-80E5-2887549C0D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4001" y="2457000"/>
            <a:ext cx="3963053" cy="24878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350"/>
              </a:lnSpc>
              <a:spcBef>
                <a:spcPts val="0"/>
              </a:spcBef>
              <a:buFontTx/>
              <a:buNone/>
              <a:defRPr sz="1000" b="0" i="1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Bildunterschriften in Arial 13 Pt Italic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AF4A1D2-26AF-FC4D-B0D2-7105CB9BA47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4BD51A52-3A93-1846-B1A9-87A8E620C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141848F-6705-EE49-9E7A-C4D2785602D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62090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links und 3x runde Bilder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522FE2C-A6D9-4590-A1CE-B501E99953F5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13" name="Textplatzhalter 46">
            <a:extLst>
              <a:ext uri="{FF2B5EF4-FFF2-40B4-BE49-F238E27FC236}">
                <a16:creationId xmlns:a16="http://schemas.microsoft.com/office/drawing/2014/main" id="{103C06DB-B92D-8947-94AE-25D97867E4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663168"/>
            <a:ext cx="4338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7" name="Bildplatzhalter 17">
            <a:extLst>
              <a:ext uri="{FF2B5EF4-FFF2-40B4-BE49-F238E27FC236}">
                <a16:creationId xmlns:a16="http://schemas.microsoft.com/office/drawing/2014/main" id="{CFEB8F0C-2273-2C43-9B92-917DFCF9852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306487" y="697888"/>
            <a:ext cx="1587600" cy="1587600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0DD43913-640C-3043-A294-ECBA6509C52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06487" y="3009005"/>
            <a:ext cx="1587600" cy="1588404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17">
            <a:extLst>
              <a:ext uri="{FF2B5EF4-FFF2-40B4-BE49-F238E27FC236}">
                <a16:creationId xmlns:a16="http://schemas.microsoft.com/office/drawing/2014/main" id="{1B7E8813-1095-E848-A02E-2AF1DF6FF5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232400" y="1777548"/>
            <a:ext cx="1587600" cy="1588404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52679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4x Text links mit Headline und 3x runde Bilder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B1A39E2-7EE3-42EC-8CB1-72ADC3F9EF04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10" name="Bildplatzhalter 17">
            <a:extLst>
              <a:ext uri="{FF2B5EF4-FFF2-40B4-BE49-F238E27FC236}">
                <a16:creationId xmlns:a16="http://schemas.microsoft.com/office/drawing/2014/main" id="{FC13D9C5-5CA4-0B45-9ABD-EA38DD7DF03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828239" y="697889"/>
            <a:ext cx="1306800" cy="1306800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17">
            <a:extLst>
              <a:ext uri="{FF2B5EF4-FFF2-40B4-BE49-F238E27FC236}">
                <a16:creationId xmlns:a16="http://schemas.microsoft.com/office/drawing/2014/main" id="{51D8C4BE-A11D-114C-A259-8F3C67569D8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828238" y="3290459"/>
            <a:ext cx="1306800" cy="1306951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17">
            <a:extLst>
              <a:ext uri="{FF2B5EF4-FFF2-40B4-BE49-F238E27FC236}">
                <a16:creationId xmlns:a16="http://schemas.microsoft.com/office/drawing/2014/main" id="{0866A54E-CEB5-4B45-8520-62AB037DFC4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555624" y="1983508"/>
            <a:ext cx="1306800" cy="1306951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9" name="Textplatzhalter 41">
            <a:extLst>
              <a:ext uri="{FF2B5EF4-FFF2-40B4-BE49-F238E27FC236}">
                <a16:creationId xmlns:a16="http://schemas.microsoft.com/office/drawing/2014/main" id="{3584CA94-D8F3-424A-8BA3-C3723D077D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4000326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0" name="Textplatzhalter 46">
            <a:extLst>
              <a:ext uri="{FF2B5EF4-FFF2-40B4-BE49-F238E27FC236}">
                <a16:creationId xmlns:a16="http://schemas.microsoft.com/office/drawing/2014/main" id="{1D940F45-0317-C54E-BE59-F05322F1E0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949532"/>
            <a:ext cx="4000326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31" name="Textplatzhalter 41">
            <a:extLst>
              <a:ext uri="{FF2B5EF4-FFF2-40B4-BE49-F238E27FC236}">
                <a16:creationId xmlns:a16="http://schemas.microsoft.com/office/drawing/2014/main" id="{351E19C5-C977-6347-AC3C-C309E37FA5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34327" y="697888"/>
            <a:ext cx="246464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</a:t>
            </a:r>
          </a:p>
        </p:txBody>
      </p:sp>
      <p:sp>
        <p:nvSpPr>
          <p:cNvPr id="32" name="Textplatzhalter 46">
            <a:extLst>
              <a:ext uri="{FF2B5EF4-FFF2-40B4-BE49-F238E27FC236}">
                <a16:creationId xmlns:a16="http://schemas.microsoft.com/office/drawing/2014/main" id="{D95344A5-905C-3A4B-9D18-E2DFCFFA65F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34325" y="949532"/>
            <a:ext cx="246464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33" name="Textplatzhalter 41">
            <a:extLst>
              <a:ext uri="{FF2B5EF4-FFF2-40B4-BE49-F238E27FC236}">
                <a16:creationId xmlns:a16="http://schemas.microsoft.com/office/drawing/2014/main" id="{A612BE07-BF0F-AF40-AB82-C324E81F44D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4001" y="3016190"/>
            <a:ext cx="4000326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4" name="Textplatzhalter 46">
            <a:extLst>
              <a:ext uri="{FF2B5EF4-FFF2-40B4-BE49-F238E27FC236}">
                <a16:creationId xmlns:a16="http://schemas.microsoft.com/office/drawing/2014/main" id="{341DF4E6-9F90-4043-831F-9895DFAAF8A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4000" y="3267835"/>
            <a:ext cx="4000326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35" name="Textplatzhalter 41">
            <a:extLst>
              <a:ext uri="{FF2B5EF4-FFF2-40B4-BE49-F238E27FC236}">
                <a16:creationId xmlns:a16="http://schemas.microsoft.com/office/drawing/2014/main" id="{74063FEC-123E-0143-ACF6-201BF1039C2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34327" y="3016190"/>
            <a:ext cx="246464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</a:t>
            </a:r>
          </a:p>
        </p:txBody>
      </p:sp>
      <p:sp>
        <p:nvSpPr>
          <p:cNvPr id="36" name="Textplatzhalter 46">
            <a:extLst>
              <a:ext uri="{FF2B5EF4-FFF2-40B4-BE49-F238E27FC236}">
                <a16:creationId xmlns:a16="http://schemas.microsoft.com/office/drawing/2014/main" id="{619260E3-1648-8C45-AD55-B42BDA6F9AA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234325" y="3267835"/>
            <a:ext cx="246464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84404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elle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ABDBC1C1-45EC-EA45-A0DF-91D0DBE438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4001" y="844601"/>
            <a:ext cx="3746581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8821930C-43CC-8A44-8B0E-1684FD1CF9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3109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1EF6939E-4C9D-2948-BE1E-B47B0A020E4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14801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9E39D914-F7C0-F94C-A3DB-7D3F6BB9AB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71959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A2195BD5-5EE7-B649-A11F-43406C2A0EB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153109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8BEE4029-55CA-224A-80C7-F2013768274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314801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CC61BB28-8322-234E-A0E5-AE63A9CC11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71958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29" name="Gerade Verbindung 28">
            <a:extLst>
              <a:ext uri="{FF2B5EF4-FFF2-40B4-BE49-F238E27FC236}">
                <a16:creationId xmlns:a16="http://schemas.microsoft.com/office/drawing/2014/main" id="{963BBE3D-2917-134F-85EA-31D8A020ADBA}"/>
              </a:ext>
            </a:extLst>
          </p:cNvPr>
          <p:cNvCxnSpPr>
            <a:cxnSpLocks/>
          </p:cNvCxnSpPr>
          <p:nvPr userDrawn="1"/>
        </p:nvCxnSpPr>
        <p:spPr>
          <a:xfrm>
            <a:off x="4077838" y="667650"/>
            <a:ext cx="0" cy="38259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>
            <a:extLst>
              <a:ext uri="{FF2B5EF4-FFF2-40B4-BE49-F238E27FC236}">
                <a16:creationId xmlns:a16="http://schemas.microsoft.com/office/drawing/2014/main" id="{9DCB0DC2-8F10-AA44-B217-84A1A87F8D75}"/>
              </a:ext>
            </a:extLst>
          </p:cNvPr>
          <p:cNvCxnSpPr>
            <a:cxnSpLocks/>
          </p:cNvCxnSpPr>
          <p:nvPr userDrawn="1"/>
        </p:nvCxnSpPr>
        <p:spPr>
          <a:xfrm>
            <a:off x="5217835" y="667650"/>
            <a:ext cx="0" cy="38259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hteck 32">
            <a:extLst>
              <a:ext uri="{FF2B5EF4-FFF2-40B4-BE49-F238E27FC236}">
                <a16:creationId xmlns:a16="http://schemas.microsoft.com/office/drawing/2014/main" id="{51813C27-D7C3-A747-82AC-539DC170DD9B}"/>
              </a:ext>
            </a:extLst>
          </p:cNvPr>
          <p:cNvSpPr/>
          <p:nvPr userDrawn="1"/>
        </p:nvSpPr>
        <p:spPr>
          <a:xfrm>
            <a:off x="6385396" y="667650"/>
            <a:ext cx="1144800" cy="3825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F51E064-505C-5C41-9875-BF2A95F876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B0714E8-273B-834B-A349-EB82F282E409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E2FC5787-D3CC-4D24-A6E3-B654BBD1545E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5D201FA-99CA-064A-BB31-752DB913EADC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69760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elle 4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BDBD7744-0BA1-A241-9516-9A949817F09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4001" y="844601"/>
            <a:ext cx="3746581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5CE355D7-C98F-0444-B4F5-1BD2ADB84A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3109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2" name="Textplatzhalter 4">
            <a:extLst>
              <a:ext uri="{FF2B5EF4-FFF2-40B4-BE49-F238E27FC236}">
                <a16:creationId xmlns:a16="http://schemas.microsoft.com/office/drawing/2014/main" id="{D1B0A502-31CF-424E-B34E-B5F45FFB4F7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14801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3" name="Textplatzhalter 4">
            <a:extLst>
              <a:ext uri="{FF2B5EF4-FFF2-40B4-BE49-F238E27FC236}">
                <a16:creationId xmlns:a16="http://schemas.microsoft.com/office/drawing/2014/main" id="{CB31FB19-3D8D-7240-AB89-DD90E4CD07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71959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E32D786E-E8E1-BF44-A744-5ECBF0BD435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16434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5" name="Textplatzhalter 4">
            <a:extLst>
              <a:ext uri="{FF2B5EF4-FFF2-40B4-BE49-F238E27FC236}">
                <a16:creationId xmlns:a16="http://schemas.microsoft.com/office/drawing/2014/main" id="{E00B0F9C-41D8-214F-8B71-B2A32C8B239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153109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6" name="Textplatzhalter 4">
            <a:extLst>
              <a:ext uri="{FF2B5EF4-FFF2-40B4-BE49-F238E27FC236}">
                <a16:creationId xmlns:a16="http://schemas.microsoft.com/office/drawing/2014/main" id="{4B15A24A-C794-EE44-A997-8D4311BF0E1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314801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7" name="Textplatzhalter 4">
            <a:extLst>
              <a:ext uri="{FF2B5EF4-FFF2-40B4-BE49-F238E27FC236}">
                <a16:creationId xmlns:a16="http://schemas.microsoft.com/office/drawing/2014/main" id="{47CB4349-A7A0-4243-8BB7-5886799D3D1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71958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5B3D3A9C-C9B8-F243-A394-22DD415E5E1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616434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49" name="Gerade Verbindung 48">
            <a:extLst>
              <a:ext uri="{FF2B5EF4-FFF2-40B4-BE49-F238E27FC236}">
                <a16:creationId xmlns:a16="http://schemas.microsoft.com/office/drawing/2014/main" id="{D0C05AB7-B83D-FF4F-8385-5E916E6543AA}"/>
              </a:ext>
            </a:extLst>
          </p:cNvPr>
          <p:cNvCxnSpPr>
            <a:cxnSpLocks/>
          </p:cNvCxnSpPr>
          <p:nvPr userDrawn="1"/>
        </p:nvCxnSpPr>
        <p:spPr>
          <a:xfrm>
            <a:off x="4077838" y="667652"/>
            <a:ext cx="0" cy="35709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>
            <a:extLst>
              <a:ext uri="{FF2B5EF4-FFF2-40B4-BE49-F238E27FC236}">
                <a16:creationId xmlns:a16="http://schemas.microsoft.com/office/drawing/2014/main" id="{0D5C5DF9-E87A-4743-AE43-3CB5E49A9AF1}"/>
              </a:ext>
            </a:extLst>
          </p:cNvPr>
          <p:cNvCxnSpPr>
            <a:cxnSpLocks/>
          </p:cNvCxnSpPr>
          <p:nvPr userDrawn="1"/>
        </p:nvCxnSpPr>
        <p:spPr>
          <a:xfrm>
            <a:off x="5217835" y="667652"/>
            <a:ext cx="0" cy="35709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>
            <a:extLst>
              <a:ext uri="{FF2B5EF4-FFF2-40B4-BE49-F238E27FC236}">
                <a16:creationId xmlns:a16="http://schemas.microsoft.com/office/drawing/2014/main" id="{6C42193E-BE06-9444-8657-ACBCFAC6602C}"/>
              </a:ext>
            </a:extLst>
          </p:cNvPr>
          <p:cNvCxnSpPr>
            <a:cxnSpLocks/>
          </p:cNvCxnSpPr>
          <p:nvPr userDrawn="1"/>
        </p:nvCxnSpPr>
        <p:spPr>
          <a:xfrm>
            <a:off x="6387693" y="667652"/>
            <a:ext cx="0" cy="35709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5830EC9D-B23A-354A-A125-C96275519602}"/>
              </a:ext>
            </a:extLst>
          </p:cNvPr>
          <p:cNvSpPr/>
          <p:nvPr userDrawn="1"/>
        </p:nvSpPr>
        <p:spPr>
          <a:xfrm>
            <a:off x="7542000" y="667652"/>
            <a:ext cx="1144800" cy="35709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13009F2-269E-9A49-A7DB-FA7AF60F58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EB2A64-1DFE-3E48-87FC-3446F10EEA4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17FE8F99-BF54-414D-A3A4-1FE3CA29B8C5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AA23D38-7865-3242-A973-4A6C5CEB08B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91140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elle 3-spalti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7870" y="2638839"/>
            <a:ext cx="8475174" cy="188366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6FC3921D-598D-4DEE-9314-C280C5FEF300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859BD2D0-FE99-484C-9512-F61A20DD6D3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4001" y="963433"/>
            <a:ext cx="34236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2D8AA30D-860F-524D-BD9D-8EEA260FB95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2879" y="657234"/>
            <a:ext cx="1281679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8FDBBBAD-E4DB-074E-8202-E882B1A80BF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70435" y="657234"/>
            <a:ext cx="1303374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A71845CA-8539-7B44-BFEE-7BDD043E29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42382" y="657234"/>
            <a:ext cx="1286146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09201604-8CCD-2241-AF82-0BD241F71F8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932879" y="963433"/>
            <a:ext cx="1281679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A09764BC-0587-434E-B5CE-EA21F18F30C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470435" y="963433"/>
            <a:ext cx="1303374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7573BDEF-DB66-1B45-90C7-F699C97BE29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042380" y="963433"/>
            <a:ext cx="1286146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C5085A8F-2E53-E64E-B011-5911C9011649}"/>
              </a:ext>
            </a:extLst>
          </p:cNvPr>
          <p:cNvCxnSpPr>
            <a:cxnSpLocks/>
          </p:cNvCxnSpPr>
          <p:nvPr userDrawn="1"/>
        </p:nvCxnSpPr>
        <p:spPr>
          <a:xfrm>
            <a:off x="3769726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7C910D65-1331-9B47-A939-98507AB8ACEB}"/>
              </a:ext>
            </a:extLst>
          </p:cNvPr>
          <p:cNvCxnSpPr>
            <a:cxnSpLocks/>
          </p:cNvCxnSpPr>
          <p:nvPr userDrawn="1"/>
        </p:nvCxnSpPr>
        <p:spPr>
          <a:xfrm>
            <a:off x="5307283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>
            <a:extLst>
              <a:ext uri="{FF2B5EF4-FFF2-40B4-BE49-F238E27FC236}">
                <a16:creationId xmlns:a16="http://schemas.microsoft.com/office/drawing/2014/main" id="{47F5DF88-232A-0742-8004-5B4EC5BD85BB}"/>
              </a:ext>
            </a:extLst>
          </p:cNvPr>
          <p:cNvCxnSpPr>
            <a:cxnSpLocks/>
          </p:cNvCxnSpPr>
          <p:nvPr userDrawn="1"/>
        </p:nvCxnSpPr>
        <p:spPr>
          <a:xfrm>
            <a:off x="6874701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69123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elle 3-spaltig mit 2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EE87DF2-97F1-4A98-89F4-0A565A96BBE4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18" name="Bildplatzhalter 2">
            <a:extLst>
              <a:ext uri="{FF2B5EF4-FFF2-40B4-BE49-F238E27FC236}">
                <a16:creationId xmlns:a16="http://schemas.microsoft.com/office/drawing/2014/main" id="{9BEBBCD9-8FCB-E046-A246-EC32BE77CFC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7871" y="2661975"/>
            <a:ext cx="4084982" cy="1860526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Bildplatzhalter 2">
            <a:extLst>
              <a:ext uri="{FF2B5EF4-FFF2-40B4-BE49-F238E27FC236}">
                <a16:creationId xmlns:a16="http://schemas.microsoft.com/office/drawing/2014/main" id="{92D35EB1-27E8-DC49-B6C8-61A109F8BB6C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735018" y="2661975"/>
            <a:ext cx="4084982" cy="1860526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15D22172-3F21-D640-95B1-6800E108254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4001" y="963433"/>
            <a:ext cx="34236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7" name="Textplatzhalter 4">
            <a:extLst>
              <a:ext uri="{FF2B5EF4-FFF2-40B4-BE49-F238E27FC236}">
                <a16:creationId xmlns:a16="http://schemas.microsoft.com/office/drawing/2014/main" id="{97664D98-4E6B-E04B-99A0-DF069CBECAB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2879" y="657234"/>
            <a:ext cx="1281679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B0CF7D24-408C-4C44-A843-C25F719BE9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70435" y="657234"/>
            <a:ext cx="1303374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FC920A69-EEA3-7741-B8AE-8AF321A1978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42382" y="657234"/>
            <a:ext cx="1286146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6498FB1A-6271-724D-B340-1C3F7AF45E3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932879" y="963433"/>
            <a:ext cx="1281679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6A7C5161-DD30-3D47-9A2F-BE63CCE025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470435" y="963433"/>
            <a:ext cx="1303374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2" name="Textplatzhalter 4">
            <a:extLst>
              <a:ext uri="{FF2B5EF4-FFF2-40B4-BE49-F238E27FC236}">
                <a16:creationId xmlns:a16="http://schemas.microsoft.com/office/drawing/2014/main" id="{66874484-A4A6-5541-A959-16D608F5B16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042380" y="963433"/>
            <a:ext cx="1286146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43" name="Gerade Verbindung 42">
            <a:extLst>
              <a:ext uri="{FF2B5EF4-FFF2-40B4-BE49-F238E27FC236}">
                <a16:creationId xmlns:a16="http://schemas.microsoft.com/office/drawing/2014/main" id="{57D06E09-8B95-E94D-B86E-1B1D20E424BD}"/>
              </a:ext>
            </a:extLst>
          </p:cNvPr>
          <p:cNvCxnSpPr>
            <a:cxnSpLocks/>
          </p:cNvCxnSpPr>
          <p:nvPr userDrawn="1"/>
        </p:nvCxnSpPr>
        <p:spPr>
          <a:xfrm>
            <a:off x="3769726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3">
            <a:extLst>
              <a:ext uri="{FF2B5EF4-FFF2-40B4-BE49-F238E27FC236}">
                <a16:creationId xmlns:a16="http://schemas.microsoft.com/office/drawing/2014/main" id="{0BA941EE-4736-0749-A894-E3E7F38C9982}"/>
              </a:ext>
            </a:extLst>
          </p:cNvPr>
          <p:cNvCxnSpPr>
            <a:cxnSpLocks/>
          </p:cNvCxnSpPr>
          <p:nvPr userDrawn="1"/>
        </p:nvCxnSpPr>
        <p:spPr>
          <a:xfrm>
            <a:off x="5307283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>
            <a:extLst>
              <a:ext uri="{FF2B5EF4-FFF2-40B4-BE49-F238E27FC236}">
                <a16:creationId xmlns:a16="http://schemas.microsoft.com/office/drawing/2014/main" id="{D98BF498-A115-F241-9130-265ECDD209CE}"/>
              </a:ext>
            </a:extLst>
          </p:cNvPr>
          <p:cNvCxnSpPr>
            <a:cxnSpLocks/>
          </p:cNvCxnSpPr>
          <p:nvPr userDrawn="1"/>
        </p:nvCxnSpPr>
        <p:spPr>
          <a:xfrm>
            <a:off x="6874701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48862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1BAA764-3F5F-444C-8161-F87A472F813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33364" y="697888"/>
            <a:ext cx="8586787" cy="3788569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C6572A00-3C63-D74B-A284-800CCB83D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220122" y="4822200"/>
            <a:ext cx="520213" cy="218844"/>
          </a:xfrm>
        </p:spPr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3569277" y="4821436"/>
            <a:ext cx="716973" cy="218828"/>
          </a:xfrm>
        </p:spPr>
        <p:txBody>
          <a:bodyPr/>
          <a:lstStyle/>
          <a:p>
            <a:fld id="{1247FDAF-1059-452B-A4FA-AC0A95C3AC7E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733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7">
            <a:extLst>
              <a:ext uri="{FF2B5EF4-FFF2-40B4-BE49-F238E27FC236}">
                <a16:creationId xmlns:a16="http://schemas.microsoft.com/office/drawing/2014/main" id="{D8752806-FF89-924C-A315-2CF512EFE36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33363" y="697888"/>
            <a:ext cx="4203555" cy="3788569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Inhaltsplatzhalter 7">
            <a:extLst>
              <a:ext uri="{FF2B5EF4-FFF2-40B4-BE49-F238E27FC236}">
                <a16:creationId xmlns:a16="http://schemas.microsoft.com/office/drawing/2014/main" id="{1AA8E9C8-7245-5C4A-BBFA-74F3AE490F9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16446" y="699585"/>
            <a:ext cx="4203555" cy="3788569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CBB13D4F-F7F7-AE4C-94F6-0EB807A56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172EAEB-F451-F64F-AC4A-322458B8156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2DB813F1-33A0-4D4E-87AF-EB69B557B9DE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D6303A5-7D1B-DD44-AB88-C7C004758E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75933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Zwei Inhalt mit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7">
            <a:extLst>
              <a:ext uri="{FF2B5EF4-FFF2-40B4-BE49-F238E27FC236}">
                <a16:creationId xmlns:a16="http://schemas.microsoft.com/office/drawing/2014/main" id="{D8752806-FF89-924C-A315-2CF512EFE36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33365" y="1067668"/>
            <a:ext cx="4161992" cy="3418790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Inhaltsplatzhalter 7">
            <a:extLst>
              <a:ext uri="{FF2B5EF4-FFF2-40B4-BE49-F238E27FC236}">
                <a16:creationId xmlns:a16="http://schemas.microsoft.com/office/drawing/2014/main" id="{1AA8E9C8-7245-5C4A-BBFA-74F3AE490F9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16446" y="1069364"/>
            <a:ext cx="4161992" cy="3418790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extplatzhalter 41">
            <a:extLst>
              <a:ext uri="{FF2B5EF4-FFF2-40B4-BE49-F238E27FC236}">
                <a16:creationId xmlns:a16="http://schemas.microsoft.com/office/drawing/2014/main" id="{C6D85155-18EA-7341-9BEC-D904CF6BA4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365" y="697888"/>
            <a:ext cx="4161992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Zwischenheadline in Arial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B197DF9F-CEB1-0044-93CC-79BD6E3399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6446" y="697888"/>
            <a:ext cx="4161992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Zwischenheadline in Arial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F0CB323F-AA59-554D-9DAE-122B6DE5D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13E9E7D-70C7-F74F-B14D-F8A710D3962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9396A89-394F-4BFD-A33E-ED7AC701A9EA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058ECAB0-3A66-A04E-B5D2-7DF5E51B4A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28972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5">
            <a:extLst>
              <a:ext uri="{FF2B5EF4-FFF2-40B4-BE49-F238E27FC236}">
                <a16:creationId xmlns:a16="http://schemas.microsoft.com/office/drawing/2014/main" id="{A61B82BF-CF04-5842-AA0B-75B999CBC56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33364" y="694135"/>
            <a:ext cx="8586787" cy="3794522"/>
          </a:xfrm>
          <a:prstGeom prst="rect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DE9450B-CEFA-784B-A0D8-6B928111FD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37F337C-7AEC-2D47-88CF-1503680FF5E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507815C9-6D4B-42D1-9120-5557FAD46A0C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38DDBE5-A816-4245-92AE-5F10BEAC8CD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15632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inks mit Headline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4338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4338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83044" y="756000"/>
            <a:ext cx="414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82DCE2A8-B364-4B6D-B82B-40BD3869BAE8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96538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D171584-8549-427D-8281-AC5E9F4029DF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43952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chlussfolie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505B9C6-6FEE-7243-AD7E-7BDC168BF1C8}"/>
              </a:ext>
            </a:extLst>
          </p:cNvPr>
          <p:cNvSpPr/>
          <p:nvPr userDrawn="1"/>
        </p:nvSpPr>
        <p:spPr>
          <a:xfrm>
            <a:off x="0" y="13707"/>
            <a:ext cx="9144000" cy="47345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3997E8E-26A6-2541-9505-434E77245D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9144638" cy="474660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E8E0409A-B122-CB40-A2F1-E1AFC97AA051}"/>
              </a:ext>
            </a:extLst>
          </p:cNvPr>
          <p:cNvSpPr/>
          <p:nvPr userDrawn="1"/>
        </p:nvSpPr>
        <p:spPr>
          <a:xfrm>
            <a:off x="1489311" y="1653526"/>
            <a:ext cx="6165378" cy="1147970"/>
          </a:xfrm>
          <a:prstGeom prst="rect">
            <a:avLst/>
          </a:prstGeom>
          <a:solidFill>
            <a:srgbClr val="C6C6C6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sp>
        <p:nvSpPr>
          <p:cNvPr id="5" name="Textplatzhalter 41">
            <a:extLst>
              <a:ext uri="{FF2B5EF4-FFF2-40B4-BE49-F238E27FC236}">
                <a16:creationId xmlns:a16="http://schemas.microsoft.com/office/drawing/2014/main" id="{F830CF53-73E9-7C48-BBC8-499D6C3311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86536" y="1892804"/>
            <a:ext cx="5770930" cy="684803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lang="de-DE" sz="2000" smtClean="0">
                <a:effectLst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r>
              <a:rPr lang="de-DE" dirty="0">
                <a:effectLst/>
                <a:latin typeface="Helvetica" pitchFamily="2" charset="0"/>
              </a:rPr>
              <a:t>Vielen Dank </a:t>
            </a:r>
            <a:r>
              <a:rPr lang="de-DE" dirty="0" err="1">
                <a:effectLst/>
                <a:latin typeface="Helvetica" pitchFamily="2" charset="0"/>
              </a:rPr>
              <a:t>für</a:t>
            </a:r>
            <a:endParaRPr lang="de-DE" dirty="0">
              <a:effectLst/>
              <a:latin typeface="Helvetica" pitchFamily="2" charset="0"/>
            </a:endParaRPr>
          </a:p>
          <a:p>
            <a:r>
              <a:rPr lang="de-DE" dirty="0">
                <a:effectLst/>
                <a:latin typeface="Helvetica" pitchFamily="2" charset="0"/>
              </a:rPr>
              <a:t>Ihre Aufmerksamkeit!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21E3593-C405-6944-BB64-EFD5B71F937B}"/>
              </a:ext>
            </a:extLst>
          </p:cNvPr>
          <p:cNvSpPr txBox="1"/>
          <p:nvPr userDrawn="1"/>
        </p:nvSpPr>
        <p:spPr>
          <a:xfrm>
            <a:off x="5723793" y="-883627"/>
            <a:ext cx="138564" cy="28469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72607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chlussfolie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di32691\AppData\Local\Microsoft\Windows\Temporary Internet Files\Content.Outlook\NLLES5G7\Schlussfolie JPK farbe (4)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-1"/>
            <a:ext cx="9144001" cy="477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platzhalter 41">
            <a:extLst>
              <a:ext uri="{FF2B5EF4-FFF2-40B4-BE49-F238E27FC236}">
                <a16:creationId xmlns:a16="http://schemas.microsoft.com/office/drawing/2014/main" id="{F830CF53-73E9-7C48-BBC8-499D6C3311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70456" y="1085083"/>
            <a:ext cx="5770930" cy="1084913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lang="de-DE" sz="3300" smtClean="0">
                <a:solidFill>
                  <a:schemeClr val="bg1"/>
                </a:solidFill>
                <a:effectLst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r>
              <a:rPr lang="de-DE" dirty="0">
                <a:effectLst/>
                <a:latin typeface="Helvetica" pitchFamily="2" charset="0"/>
              </a:rPr>
              <a:t>Vielen Dank </a:t>
            </a:r>
            <a:r>
              <a:rPr lang="de-DE" dirty="0" err="1">
                <a:effectLst/>
                <a:latin typeface="Helvetica" pitchFamily="2" charset="0"/>
              </a:rPr>
              <a:t>für</a:t>
            </a:r>
            <a:r>
              <a:rPr lang="de-DE" dirty="0">
                <a:effectLst/>
                <a:latin typeface="Helvetica" pitchFamily="2" charset="0"/>
              </a:rPr>
              <a:t> Ihre Aufmerksamkeit!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21E3593-C405-6944-BB64-EFD5B71F937B}"/>
              </a:ext>
            </a:extLst>
          </p:cNvPr>
          <p:cNvSpPr txBox="1"/>
          <p:nvPr userDrawn="1"/>
        </p:nvSpPr>
        <p:spPr>
          <a:xfrm>
            <a:off x="5723793" y="-883627"/>
            <a:ext cx="138564" cy="28469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2293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chlussfolie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505B9C6-6FEE-7243-AD7E-7BDC168BF1C8}"/>
              </a:ext>
            </a:extLst>
          </p:cNvPr>
          <p:cNvSpPr/>
          <p:nvPr userDrawn="1"/>
        </p:nvSpPr>
        <p:spPr>
          <a:xfrm>
            <a:off x="0" y="13707"/>
            <a:ext cx="9144000" cy="37581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sp>
        <p:nvSpPr>
          <p:cNvPr id="5" name="Textplatzhalter 41">
            <a:extLst>
              <a:ext uri="{FF2B5EF4-FFF2-40B4-BE49-F238E27FC236}">
                <a16:creationId xmlns:a16="http://schemas.microsoft.com/office/drawing/2014/main" id="{1996E722-1E54-2440-9E56-46E68CEC5D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86536" y="1892805"/>
            <a:ext cx="5770930" cy="777136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lang="de-DE" sz="2300" smtClean="0">
                <a:effectLst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r>
              <a:rPr lang="de-DE" dirty="0">
                <a:effectLst/>
                <a:latin typeface="Helvetica" pitchFamily="2" charset="0"/>
              </a:rPr>
              <a:t>Vielen Dank </a:t>
            </a:r>
            <a:r>
              <a:rPr lang="de-DE" dirty="0" err="1">
                <a:effectLst/>
                <a:latin typeface="Helvetica" pitchFamily="2" charset="0"/>
              </a:rPr>
              <a:t>für</a:t>
            </a:r>
            <a:endParaRPr lang="de-DE" dirty="0">
              <a:effectLst/>
              <a:latin typeface="Helvetica" pitchFamily="2" charset="0"/>
            </a:endParaRPr>
          </a:p>
          <a:p>
            <a:r>
              <a:rPr lang="de-DE" dirty="0">
                <a:effectLst/>
                <a:latin typeface="Helvetica" pitchFamily="2" charset="0"/>
              </a:rPr>
              <a:t>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17053011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inks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83044" y="756000"/>
            <a:ext cx="414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76EC861C-3A26-4872-9641-990BBEB07C8D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10" name="Textplatzhalter 46">
            <a:extLst>
              <a:ext uri="{FF2B5EF4-FFF2-40B4-BE49-F238E27FC236}">
                <a16:creationId xmlns:a16="http://schemas.microsoft.com/office/drawing/2014/main" id="{F5B8D23F-40DC-4641-9B73-36B1167EEF8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663168"/>
            <a:ext cx="4338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30586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rechts mit Headline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2"/>
            <a:ext cx="414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E999999-6EB5-48ED-9AE9-22C113A6BD0A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16" name="Textplatzhalter 41">
            <a:extLst>
              <a:ext uri="{FF2B5EF4-FFF2-40B4-BE49-F238E27FC236}">
                <a16:creationId xmlns:a16="http://schemas.microsoft.com/office/drawing/2014/main" id="{E312BF74-A897-DD4A-A186-96623098FFD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71004" y="697888"/>
            <a:ext cx="414899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7" name="Textplatzhalter 46">
            <a:extLst>
              <a:ext uri="{FF2B5EF4-FFF2-40B4-BE49-F238E27FC236}">
                <a16:creationId xmlns:a16="http://schemas.microsoft.com/office/drawing/2014/main" id="{DF4C2467-6510-734D-A856-78639A05BE1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71002" y="1107001"/>
            <a:ext cx="414899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42499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rechts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2"/>
            <a:ext cx="414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0BB70FC-68C5-4D4E-BCBA-6FAB730D8949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17" name="Textplatzhalter 46">
            <a:extLst>
              <a:ext uri="{FF2B5EF4-FFF2-40B4-BE49-F238E27FC236}">
                <a16:creationId xmlns:a16="http://schemas.microsoft.com/office/drawing/2014/main" id="{272AC951-DB9B-2745-88ED-D7443ECFF73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71003" y="659470"/>
            <a:ext cx="4148998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71835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rechts mit Headline und 2 Bilder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0210179F-CD6B-5E47-B231-9937064E83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1102512-8A48-F245-A013-DDF98EEB725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8AE4F14-8A05-4228-9389-6559A886F105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249361-0ED7-504A-8A0A-F6599FA22BC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41">
            <a:extLst>
              <a:ext uri="{FF2B5EF4-FFF2-40B4-BE49-F238E27FC236}">
                <a16:creationId xmlns:a16="http://schemas.microsoft.com/office/drawing/2014/main" id="{BF4C4A9B-31B2-6B4D-93F9-91721DC57A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72464" y="697888"/>
            <a:ext cx="414753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3" name="Textplatzhalter 46">
            <a:extLst>
              <a:ext uri="{FF2B5EF4-FFF2-40B4-BE49-F238E27FC236}">
                <a16:creationId xmlns:a16="http://schemas.microsoft.com/office/drawing/2014/main" id="{59DE3DE6-FF4F-0D48-BFF6-C9144DD86C7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72463" y="1107001"/>
            <a:ext cx="414753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5" name="Bildplatzhalter 2">
            <a:extLst>
              <a:ext uri="{FF2B5EF4-FFF2-40B4-BE49-F238E27FC236}">
                <a16:creationId xmlns:a16="http://schemas.microsoft.com/office/drawing/2014/main" id="{B648B889-78EE-5142-B5AF-BA4FA5D7ED1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3"/>
            <a:ext cx="4140000" cy="183813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Bildplatzhalter 2">
            <a:extLst>
              <a:ext uri="{FF2B5EF4-FFF2-40B4-BE49-F238E27FC236}">
                <a16:creationId xmlns:a16="http://schemas.microsoft.com/office/drawing/2014/main" id="{FBF41EA9-E686-D544-9338-A5BB1999019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3000" y="2709015"/>
            <a:ext cx="4140000" cy="183813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82398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rechts und 2 Bilder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46">
            <a:extLst>
              <a:ext uri="{FF2B5EF4-FFF2-40B4-BE49-F238E27FC236}">
                <a16:creationId xmlns:a16="http://schemas.microsoft.com/office/drawing/2014/main" id="{8AA97777-B5EE-FE43-9DA0-D9F86D2238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8812" y="664201"/>
            <a:ext cx="4255223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7" name="Titel 30">
            <a:extLst>
              <a:ext uri="{FF2B5EF4-FFF2-40B4-BE49-F238E27FC236}">
                <a16:creationId xmlns:a16="http://schemas.microsoft.com/office/drawing/2014/main" id="{C8BDF212-FBF0-F445-A717-CF7F0F526A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000" y="97977"/>
            <a:ext cx="8600034" cy="31547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600" b="1" i="0" baseline="0">
                <a:latin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DDBF92-33DD-034E-B9AC-DF00D1DD0A8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EA0FD884-5FA7-4586-98D5-450AD5274F6B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62F8B2C1-AC44-FB45-AFEB-1008D07F144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Bildplatzhalter 2">
            <a:extLst>
              <a:ext uri="{FF2B5EF4-FFF2-40B4-BE49-F238E27FC236}">
                <a16:creationId xmlns:a16="http://schemas.microsoft.com/office/drawing/2014/main" id="{032F96D1-DCEC-C44F-B9A2-69F76279DB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3"/>
            <a:ext cx="4140000" cy="183813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3E1EF14C-3C71-6642-B806-C000E8E1F9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3000" y="2709015"/>
            <a:ext cx="4140000" cy="183813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31726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01580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links mit Headline und schmales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0000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41">
            <a:extLst>
              <a:ext uri="{FF2B5EF4-FFF2-40B4-BE49-F238E27FC236}">
                <a16:creationId xmlns:a16="http://schemas.microsoft.com/office/drawing/2014/main" id="{B9380605-3624-9F41-84C7-15AF3354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5689722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Textplatzhalter 46">
            <a:extLst>
              <a:ext uri="{FF2B5EF4-FFF2-40B4-BE49-F238E27FC236}">
                <a16:creationId xmlns:a16="http://schemas.microsoft.com/office/drawing/2014/main" id="{F4185694-761D-9A4F-97C9-3545E8817C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5689722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E73BE5B-6839-400E-8096-642BB331A383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1399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3.png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40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26334925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6" imgW="338" imgH="344" progId="TCLayout.ActiveDocument.1">
                  <p:embed/>
                </p:oleObj>
              </mc:Choice>
              <mc:Fallback>
                <p:oleObj name="think-cell Folie" r:id="rId36" imgW="338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5CF89B9E-1CF2-2941-95FC-27FD76213E11}"/>
              </a:ext>
            </a:extLst>
          </p:cNvPr>
          <p:cNvCxnSpPr>
            <a:cxnSpLocks/>
          </p:cNvCxnSpPr>
          <p:nvPr/>
        </p:nvCxnSpPr>
        <p:spPr>
          <a:xfrm>
            <a:off x="0" y="459000"/>
            <a:ext cx="8820000" cy="0"/>
          </a:xfrm>
          <a:prstGeom prst="line">
            <a:avLst/>
          </a:prstGeom>
          <a:ln w="12700">
            <a:solidFill>
              <a:srgbClr val="8597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7EDB74A1-3DAE-7F44-A6EB-0E1116BBAF33}"/>
              </a:ext>
            </a:extLst>
          </p:cNvPr>
          <p:cNvCxnSpPr>
            <a:cxnSpLocks/>
          </p:cNvCxnSpPr>
          <p:nvPr/>
        </p:nvCxnSpPr>
        <p:spPr>
          <a:xfrm>
            <a:off x="324000" y="499500"/>
            <a:ext cx="8820000" cy="0"/>
          </a:xfrm>
          <a:prstGeom prst="line">
            <a:avLst/>
          </a:prstGeom>
          <a:ln w="12700">
            <a:solidFill>
              <a:srgbClr val="FD78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60F2CCFB-B044-3544-9E42-D78BA40D7FE0}"/>
              </a:ext>
            </a:extLst>
          </p:cNvPr>
          <p:cNvCxnSpPr>
            <a:cxnSpLocks/>
          </p:cNvCxnSpPr>
          <p:nvPr/>
        </p:nvCxnSpPr>
        <p:spPr>
          <a:xfrm>
            <a:off x="324000" y="4749287"/>
            <a:ext cx="8496000" cy="0"/>
          </a:xfrm>
          <a:prstGeom prst="line">
            <a:avLst/>
          </a:prstGeom>
          <a:ln w="6350"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elplatzhalter 2">
            <a:extLst>
              <a:ext uri="{FF2B5EF4-FFF2-40B4-BE49-F238E27FC236}">
                <a16:creationId xmlns:a16="http://schemas.microsoft.com/office/drawing/2014/main" id="{5477DEBA-3CB9-FA43-8E79-C7A8D1B66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000" y="97977"/>
            <a:ext cx="8586000" cy="315471"/>
          </a:xfrm>
          <a:prstGeom prst="rect">
            <a:avLst/>
          </a:prstGeom>
        </p:spPr>
        <p:txBody>
          <a:bodyPr vert="horz" wrap="square" lIns="68580" tIns="34290" rIns="68580" bIns="34290" rtlCol="0" anchor="ctr">
            <a:sp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9A4E7BAB-D564-E344-B586-7B145070C3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0122" y="4822200"/>
            <a:ext cx="520213" cy="218844"/>
          </a:xfrm>
          <a:prstGeom prst="rect">
            <a:avLst/>
          </a:prstGeom>
          <a:ln>
            <a:noFill/>
          </a:ln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  <a:cs typeface="Arial"/>
              </a:defRPr>
            </a:lvl1pPr>
          </a:lstStyle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7" name="Datumsplatzhalter 3">
            <a:extLst>
              <a:ext uri="{FF2B5EF4-FFF2-40B4-BE49-F238E27FC236}">
                <a16:creationId xmlns:a16="http://schemas.microsoft.com/office/drawing/2014/main" id="{BBBB25BD-A9AF-9241-BD08-DAB94ED948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9277" y="4821436"/>
            <a:ext cx="716973" cy="218828"/>
          </a:xfrm>
          <a:prstGeom prst="rect">
            <a:avLst/>
          </a:prstGeom>
          <a:ln>
            <a:noFill/>
          </a:ln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rgbClr val="C6C6C6"/>
                </a:solidFill>
                <a:latin typeface="+mn-lt"/>
                <a:cs typeface="Arial"/>
              </a:defRPr>
            </a:lvl1pPr>
          </a:lstStyle>
          <a:p>
            <a:fld id="{EC1613B2-C89F-499A-8C0D-E7D39129207B}" type="datetime1">
              <a:rPr lang="de-DE" smtClean="0"/>
              <a:t>16.09.2022</a:t>
            </a:fld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1BB55B9-2489-1E42-AA09-640E6326C25B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1935" y="4846916"/>
            <a:ext cx="1138042" cy="162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6F13192C-9A02-4848-9F45-ECE48C28E23A}"/>
              </a:ext>
            </a:extLst>
          </p:cNvPr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9218" y="4814100"/>
            <a:ext cx="1041615" cy="276225"/>
          </a:xfrm>
          <a:prstGeom prst="rect">
            <a:avLst/>
          </a:prstGeom>
        </p:spPr>
      </p:pic>
      <p:pic>
        <p:nvPicPr>
          <p:cNvPr id="2050" name="Picture 2" descr="G:\Mafos\Huffer\BHu2020\gemeinsames Template PPT\final\Logos\SHS - Stahl-Holding-Saar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54827" y="4814100"/>
            <a:ext cx="1851955" cy="2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3757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687" r:id="rId2"/>
    <p:sldLayoutId id="2147483673" r:id="rId3"/>
    <p:sldLayoutId id="2147483773" r:id="rId4"/>
    <p:sldLayoutId id="2147483712" r:id="rId5"/>
    <p:sldLayoutId id="2147483772" r:id="rId6"/>
    <p:sldLayoutId id="2147483664" r:id="rId7"/>
    <p:sldLayoutId id="2147483769" r:id="rId8"/>
    <p:sldLayoutId id="2147483720" r:id="rId9"/>
    <p:sldLayoutId id="2147483774" r:id="rId10"/>
    <p:sldLayoutId id="2147483722" r:id="rId11"/>
    <p:sldLayoutId id="2147483721" r:id="rId12"/>
    <p:sldLayoutId id="2147483723" r:id="rId13"/>
    <p:sldLayoutId id="2147483716" r:id="rId14"/>
    <p:sldLayoutId id="2147483717" r:id="rId15"/>
    <p:sldLayoutId id="2147483713" r:id="rId16"/>
    <p:sldLayoutId id="2147483775" r:id="rId17"/>
    <p:sldLayoutId id="2147483714" r:id="rId18"/>
    <p:sldLayoutId id="2147483724" r:id="rId19"/>
    <p:sldLayoutId id="2147483771" r:id="rId20"/>
    <p:sldLayoutId id="2147483715" r:id="rId21"/>
    <p:sldLayoutId id="2147483666" r:id="rId22"/>
    <p:sldLayoutId id="2147483665" r:id="rId23"/>
    <p:sldLayoutId id="2147483718" r:id="rId24"/>
    <p:sldLayoutId id="2147483719" r:id="rId25"/>
    <p:sldLayoutId id="2147483682" r:id="rId26"/>
    <p:sldLayoutId id="2147483683" r:id="rId27"/>
    <p:sldLayoutId id="2147483684" r:id="rId28"/>
    <p:sldLayoutId id="2147483685" r:id="rId29"/>
    <p:sldLayoutId id="2147483945" r:id="rId30"/>
    <p:sldLayoutId id="2147483711" r:id="rId31"/>
    <p:sldLayoutId id="2147483946" r:id="rId32"/>
    <p:sldLayoutId id="2147483700" r:id="rId33"/>
  </p:sldLayoutIdLst>
  <p:hf hdr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600" b="1" i="0" kern="1200" baseline="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1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s://github.com/shs-it/VerarbeitungsCounter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20"/>
          </p:nvPr>
        </p:nvSpPr>
        <p:spPr>
          <a:xfrm>
            <a:off x="1982679" y="1725555"/>
            <a:ext cx="5770930" cy="684803"/>
          </a:xfrm>
        </p:spPr>
        <p:txBody>
          <a:bodyPr/>
          <a:lstStyle/>
          <a:p>
            <a:r>
              <a:rPr lang="de-DE" dirty="0"/>
              <a:t>Grundlagen der Kommunikation in verteilten Systemen</a:t>
            </a:r>
          </a:p>
        </p:txBody>
      </p:sp>
    </p:spTree>
    <p:extLst>
      <p:ext uri="{BB962C8B-B14F-4D97-AF65-F5344CB8AC3E}">
        <p14:creationId xmlns:p14="http://schemas.microsoft.com/office/powerpoint/2010/main" val="7829549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AAAD84-FC90-4559-8CE0-B98D073B65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625CF7A-744B-4D16-9849-4EFCC831D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synchrone Kommunikation : </a:t>
            </a:r>
            <a:r>
              <a:rPr lang="de-DE" dirty="0" err="1"/>
              <a:t>point</a:t>
            </a:r>
            <a:r>
              <a:rPr lang="de-DE" dirty="0"/>
              <a:t>-</a:t>
            </a:r>
            <a:r>
              <a:rPr lang="de-DE" dirty="0" err="1"/>
              <a:t>to</a:t>
            </a:r>
            <a:r>
              <a:rPr lang="de-DE" dirty="0"/>
              <a:t>-point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200AEFB-9967-45DA-8A70-5DB0DE921B0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FB570F9-91F6-4813-9B0A-9B89BAC606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C87BBAA-6FA5-4AAF-B603-766955BEC8F3}"/>
              </a:ext>
            </a:extLst>
          </p:cNvPr>
          <p:cNvSpPr/>
          <p:nvPr/>
        </p:nvSpPr>
        <p:spPr>
          <a:xfrm>
            <a:off x="1409700" y="1486689"/>
            <a:ext cx="4244340" cy="2742411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Pfeil: nach links 16">
            <a:extLst>
              <a:ext uri="{FF2B5EF4-FFF2-40B4-BE49-F238E27FC236}">
                <a16:creationId xmlns:a16="http://schemas.microsoft.com/office/drawing/2014/main" id="{CAC0CE91-EECD-4914-8DF3-EEDC898C42E4}"/>
              </a:ext>
            </a:extLst>
          </p:cNvPr>
          <p:cNvSpPr/>
          <p:nvPr/>
        </p:nvSpPr>
        <p:spPr>
          <a:xfrm>
            <a:off x="5571340" y="2623791"/>
            <a:ext cx="891540" cy="327660"/>
          </a:xfrm>
          <a:prstGeom prst="leftArrow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/>
              <a:t>Queue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65E413E-938D-4A69-BCE6-9F74C150BEC9}"/>
              </a:ext>
            </a:extLst>
          </p:cNvPr>
          <p:cNvSpPr txBox="1"/>
          <p:nvPr/>
        </p:nvSpPr>
        <p:spPr>
          <a:xfrm>
            <a:off x="1806575" y="1855580"/>
            <a:ext cx="1784350" cy="830997"/>
          </a:xfrm>
          <a:prstGeom prst="rect">
            <a:avLst/>
          </a:prstGeom>
          <a:solidFill>
            <a:srgbClr val="2C00E6"/>
          </a:solidFill>
          <a:ln w="50800" cap="rnd">
            <a:solidFill>
              <a:srgbClr val="2800D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AlarmIT</a:t>
            </a:r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sz="2000" dirty="0">
                <a:solidFill>
                  <a:schemeClr val="bg1"/>
                </a:solidFill>
              </a:rPr>
              <a:t>Instanz 1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11040457-F383-4E65-8B52-884373FE2801}"/>
              </a:ext>
            </a:extLst>
          </p:cNvPr>
          <p:cNvSpPr txBox="1"/>
          <p:nvPr/>
        </p:nvSpPr>
        <p:spPr>
          <a:xfrm>
            <a:off x="1784927" y="3055468"/>
            <a:ext cx="1784350" cy="830997"/>
          </a:xfrm>
          <a:prstGeom prst="rect">
            <a:avLst/>
          </a:prstGeom>
          <a:solidFill>
            <a:srgbClr val="2C00E6"/>
          </a:solidFill>
          <a:ln w="50800" cap="rnd">
            <a:solidFill>
              <a:srgbClr val="2800D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AlarmIT</a:t>
            </a:r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sz="2000" dirty="0">
                <a:solidFill>
                  <a:schemeClr val="bg1"/>
                </a:solidFill>
              </a:rPr>
              <a:t>Instanz 2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21" name="Picture 6" descr="Was ist Docker? | AWS">
            <a:extLst>
              <a:ext uri="{FF2B5EF4-FFF2-40B4-BE49-F238E27FC236}">
                <a16:creationId xmlns:a16="http://schemas.microsoft.com/office/drawing/2014/main" id="{3CF49483-D8B6-4C58-A610-0051DF2F38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44" y="1504289"/>
            <a:ext cx="1272061" cy="597276"/>
          </a:xfrm>
          <a:prstGeom prst="rect">
            <a:avLst/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Apache ActiveMQ – Wikipedia">
            <a:extLst>
              <a:ext uri="{FF2B5EF4-FFF2-40B4-BE49-F238E27FC236}">
                <a16:creationId xmlns:a16="http://schemas.microsoft.com/office/drawing/2014/main" id="{3492889B-2052-4FE3-81D4-203355532B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8272" y="2400864"/>
            <a:ext cx="1200169" cy="978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hteck 26">
            <a:extLst>
              <a:ext uri="{FF2B5EF4-FFF2-40B4-BE49-F238E27FC236}">
                <a16:creationId xmlns:a16="http://schemas.microsoft.com/office/drawing/2014/main" id="{90978F04-0B16-48DA-B0ED-1AC480427DD1}"/>
              </a:ext>
            </a:extLst>
          </p:cNvPr>
          <p:cNvSpPr/>
          <p:nvPr/>
        </p:nvSpPr>
        <p:spPr>
          <a:xfrm>
            <a:off x="6706158" y="2400864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sp>
        <p:nvSpPr>
          <p:cNvPr id="28" name="Pfeil: nach unten 27">
            <a:extLst>
              <a:ext uri="{FF2B5EF4-FFF2-40B4-BE49-F238E27FC236}">
                <a16:creationId xmlns:a16="http://schemas.microsoft.com/office/drawing/2014/main" id="{EBF16410-41CA-46F5-A01F-C274C8D468B5}"/>
              </a:ext>
            </a:extLst>
          </p:cNvPr>
          <p:cNvSpPr/>
          <p:nvPr/>
        </p:nvSpPr>
        <p:spPr>
          <a:xfrm rot="3678140">
            <a:off x="3912867" y="2864426"/>
            <a:ext cx="162206" cy="764639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Pfeil: nach unten 28">
            <a:extLst>
              <a:ext uri="{FF2B5EF4-FFF2-40B4-BE49-F238E27FC236}">
                <a16:creationId xmlns:a16="http://schemas.microsoft.com/office/drawing/2014/main" id="{83D60591-6201-403F-8170-69EC6AFFA5B3}"/>
              </a:ext>
            </a:extLst>
          </p:cNvPr>
          <p:cNvSpPr/>
          <p:nvPr/>
        </p:nvSpPr>
        <p:spPr>
          <a:xfrm rot="6874408">
            <a:off x="3912866" y="2080784"/>
            <a:ext cx="162206" cy="764639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43850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7" grpId="0" animBg="1"/>
      <p:bldP spid="10" grpId="0" animBg="1"/>
      <p:bldP spid="1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AAAD84-FC90-4559-8CE0-B98D073B65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625CF7A-744B-4D16-9849-4EFCC831D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synchrone Kommunikation : publish/</a:t>
            </a:r>
            <a:r>
              <a:rPr lang="de-DE" dirty="0" err="1"/>
              <a:t>subscribe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200AEFB-9967-45DA-8A70-5DB0DE921B0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FB570F9-91F6-4813-9B0A-9B89BAC606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C87BBAA-6FA5-4AAF-B603-766955BEC8F3}"/>
              </a:ext>
            </a:extLst>
          </p:cNvPr>
          <p:cNvSpPr/>
          <p:nvPr/>
        </p:nvSpPr>
        <p:spPr>
          <a:xfrm>
            <a:off x="1409700" y="1486689"/>
            <a:ext cx="4244340" cy="2742411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Pfeil: nach links 16">
            <a:extLst>
              <a:ext uri="{FF2B5EF4-FFF2-40B4-BE49-F238E27FC236}">
                <a16:creationId xmlns:a16="http://schemas.microsoft.com/office/drawing/2014/main" id="{CAC0CE91-EECD-4914-8DF3-EEDC898C42E4}"/>
              </a:ext>
            </a:extLst>
          </p:cNvPr>
          <p:cNvSpPr/>
          <p:nvPr/>
        </p:nvSpPr>
        <p:spPr>
          <a:xfrm>
            <a:off x="5494123" y="2639520"/>
            <a:ext cx="891540" cy="327660"/>
          </a:xfrm>
          <a:prstGeom prst="leftArrow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/>
              <a:t>Topic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65E413E-938D-4A69-BCE6-9F74C150BEC9}"/>
              </a:ext>
            </a:extLst>
          </p:cNvPr>
          <p:cNvSpPr txBox="1"/>
          <p:nvPr/>
        </p:nvSpPr>
        <p:spPr>
          <a:xfrm>
            <a:off x="1806575" y="1855580"/>
            <a:ext cx="1784350" cy="830997"/>
          </a:xfrm>
          <a:prstGeom prst="rect">
            <a:avLst/>
          </a:prstGeom>
          <a:solidFill>
            <a:srgbClr val="2C00E6"/>
          </a:solidFill>
          <a:ln w="50800" cap="rnd">
            <a:solidFill>
              <a:srgbClr val="2800D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AlarmIT</a:t>
            </a:r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sz="2000" dirty="0">
                <a:solidFill>
                  <a:schemeClr val="bg1"/>
                </a:solidFill>
              </a:rPr>
              <a:t>Instanz 1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11040457-F383-4E65-8B52-884373FE2801}"/>
              </a:ext>
            </a:extLst>
          </p:cNvPr>
          <p:cNvSpPr txBox="1"/>
          <p:nvPr/>
        </p:nvSpPr>
        <p:spPr>
          <a:xfrm>
            <a:off x="1784927" y="3055468"/>
            <a:ext cx="1784350" cy="830997"/>
          </a:xfrm>
          <a:prstGeom prst="rect">
            <a:avLst/>
          </a:prstGeom>
          <a:solidFill>
            <a:srgbClr val="2C00E6"/>
          </a:solidFill>
          <a:ln w="50800" cap="rnd">
            <a:solidFill>
              <a:srgbClr val="2800D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AlarmIT</a:t>
            </a:r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sz="2000" dirty="0">
                <a:solidFill>
                  <a:schemeClr val="bg1"/>
                </a:solidFill>
              </a:rPr>
              <a:t>Instanz 2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21" name="Picture 6" descr="Was ist Docker? | AWS">
            <a:extLst>
              <a:ext uri="{FF2B5EF4-FFF2-40B4-BE49-F238E27FC236}">
                <a16:creationId xmlns:a16="http://schemas.microsoft.com/office/drawing/2014/main" id="{3CF49483-D8B6-4C58-A610-0051DF2F38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44" y="1504289"/>
            <a:ext cx="1272061" cy="597276"/>
          </a:xfrm>
          <a:prstGeom prst="rect">
            <a:avLst/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Apache ActiveMQ – Wikipedia">
            <a:extLst>
              <a:ext uri="{FF2B5EF4-FFF2-40B4-BE49-F238E27FC236}">
                <a16:creationId xmlns:a16="http://schemas.microsoft.com/office/drawing/2014/main" id="{3492889B-2052-4FE3-81D4-203355532B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3954" y="2377540"/>
            <a:ext cx="1200169" cy="978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hteck 26">
            <a:extLst>
              <a:ext uri="{FF2B5EF4-FFF2-40B4-BE49-F238E27FC236}">
                <a16:creationId xmlns:a16="http://schemas.microsoft.com/office/drawing/2014/main" id="{90978F04-0B16-48DA-B0ED-1AC480427DD1}"/>
              </a:ext>
            </a:extLst>
          </p:cNvPr>
          <p:cNvSpPr/>
          <p:nvPr/>
        </p:nvSpPr>
        <p:spPr>
          <a:xfrm>
            <a:off x="6749099" y="2390240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sp>
        <p:nvSpPr>
          <p:cNvPr id="28" name="Pfeil: nach unten 27">
            <a:extLst>
              <a:ext uri="{FF2B5EF4-FFF2-40B4-BE49-F238E27FC236}">
                <a16:creationId xmlns:a16="http://schemas.microsoft.com/office/drawing/2014/main" id="{EBF16410-41CA-46F5-A01F-C274C8D468B5}"/>
              </a:ext>
            </a:extLst>
          </p:cNvPr>
          <p:cNvSpPr/>
          <p:nvPr/>
        </p:nvSpPr>
        <p:spPr>
          <a:xfrm rot="3678140">
            <a:off x="3945351" y="2760187"/>
            <a:ext cx="162206" cy="764639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Pfeil: nach unten 28">
            <a:extLst>
              <a:ext uri="{FF2B5EF4-FFF2-40B4-BE49-F238E27FC236}">
                <a16:creationId xmlns:a16="http://schemas.microsoft.com/office/drawing/2014/main" id="{83D60591-6201-403F-8170-69EC6AFFA5B3}"/>
              </a:ext>
            </a:extLst>
          </p:cNvPr>
          <p:cNvSpPr/>
          <p:nvPr/>
        </p:nvSpPr>
        <p:spPr>
          <a:xfrm rot="6648881">
            <a:off x="3925607" y="2182580"/>
            <a:ext cx="162206" cy="764639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90267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7" grpId="0" animBg="1"/>
      <p:bldP spid="10" grpId="0" animBg="1"/>
      <p:bldP spid="1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AAAD84-FC90-4559-8CE0-B98D073B65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625CF7A-744B-4D16-9849-4EFCC831D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zenario : Virtual Topic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200AEFB-9967-45DA-8A70-5DB0DE921B0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FB570F9-91F6-4813-9B0A-9B89BAC606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AC5D443-1F83-4470-95DB-9ED2814C4167}"/>
              </a:ext>
            </a:extLst>
          </p:cNvPr>
          <p:cNvSpPr/>
          <p:nvPr/>
        </p:nvSpPr>
        <p:spPr>
          <a:xfrm>
            <a:off x="593313" y="1486689"/>
            <a:ext cx="6086693" cy="2742411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45B7140-F90F-4339-B3DB-1055B755DC59}"/>
              </a:ext>
            </a:extLst>
          </p:cNvPr>
          <p:cNvSpPr txBox="1"/>
          <p:nvPr/>
        </p:nvSpPr>
        <p:spPr>
          <a:xfrm>
            <a:off x="985990" y="3025709"/>
            <a:ext cx="1784350" cy="830997"/>
          </a:xfrm>
          <a:prstGeom prst="rect">
            <a:avLst/>
          </a:prstGeom>
          <a:solidFill>
            <a:srgbClr val="2C00E6"/>
          </a:solidFill>
          <a:ln w="50800" cap="rnd">
            <a:solidFill>
              <a:srgbClr val="2800D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AlarmIT</a:t>
            </a:r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sz="2000" dirty="0">
                <a:solidFill>
                  <a:schemeClr val="bg1"/>
                </a:solidFill>
              </a:rPr>
              <a:t>Instanz 2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27620EF-5266-4F7B-870A-FCDC85FFC892}"/>
              </a:ext>
            </a:extLst>
          </p:cNvPr>
          <p:cNvSpPr txBox="1"/>
          <p:nvPr/>
        </p:nvSpPr>
        <p:spPr>
          <a:xfrm>
            <a:off x="1035108" y="1855580"/>
            <a:ext cx="1784350" cy="830997"/>
          </a:xfrm>
          <a:prstGeom prst="rect">
            <a:avLst/>
          </a:prstGeom>
          <a:solidFill>
            <a:srgbClr val="2C00E6"/>
          </a:solidFill>
          <a:ln w="50800" cap="rnd">
            <a:solidFill>
              <a:srgbClr val="2800D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AlarmIT</a:t>
            </a:r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sz="2000" dirty="0">
                <a:solidFill>
                  <a:schemeClr val="bg1"/>
                </a:solidFill>
              </a:rPr>
              <a:t>Instanz 1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29" name="Picture 6" descr="Apache ActiveMQ – Wikipedia">
            <a:extLst>
              <a:ext uri="{FF2B5EF4-FFF2-40B4-BE49-F238E27FC236}">
                <a16:creationId xmlns:a16="http://schemas.microsoft.com/office/drawing/2014/main" id="{B6B1E23B-ED2F-4863-A755-27DE9D3A9E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6402" y="2368767"/>
            <a:ext cx="1200169" cy="978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hteck 29">
            <a:extLst>
              <a:ext uri="{FF2B5EF4-FFF2-40B4-BE49-F238E27FC236}">
                <a16:creationId xmlns:a16="http://schemas.microsoft.com/office/drawing/2014/main" id="{9C1E9D44-B346-4FF5-9B6F-814D9784BE0C}"/>
              </a:ext>
            </a:extLst>
          </p:cNvPr>
          <p:cNvSpPr/>
          <p:nvPr/>
        </p:nvSpPr>
        <p:spPr>
          <a:xfrm>
            <a:off x="7146535" y="2444555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sp>
        <p:nvSpPr>
          <p:cNvPr id="31" name="Pfeil: nach links 30">
            <a:extLst>
              <a:ext uri="{FF2B5EF4-FFF2-40B4-BE49-F238E27FC236}">
                <a16:creationId xmlns:a16="http://schemas.microsoft.com/office/drawing/2014/main" id="{E177694E-8146-4B28-B0FB-750CE8883E97}"/>
              </a:ext>
            </a:extLst>
          </p:cNvPr>
          <p:cNvSpPr/>
          <p:nvPr/>
        </p:nvSpPr>
        <p:spPr>
          <a:xfrm>
            <a:off x="6215235" y="2678850"/>
            <a:ext cx="891540" cy="327660"/>
          </a:xfrm>
          <a:prstGeom prst="leftArrow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/>
              <a:t>Topic</a:t>
            </a: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9F258EF1-6D1A-433D-A0F1-589997073950}"/>
              </a:ext>
            </a:extLst>
          </p:cNvPr>
          <p:cNvSpPr/>
          <p:nvPr/>
        </p:nvSpPr>
        <p:spPr>
          <a:xfrm>
            <a:off x="3392939" y="2074183"/>
            <a:ext cx="788610" cy="342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Queue</a:t>
            </a:r>
          </a:p>
        </p:txBody>
      </p:sp>
      <p:sp>
        <p:nvSpPr>
          <p:cNvPr id="34" name="Rechteck: abgerundete Ecken 33">
            <a:extLst>
              <a:ext uri="{FF2B5EF4-FFF2-40B4-BE49-F238E27FC236}">
                <a16:creationId xmlns:a16="http://schemas.microsoft.com/office/drawing/2014/main" id="{56AC90B6-91B5-479A-9D29-7D9F6F2B06E2}"/>
              </a:ext>
            </a:extLst>
          </p:cNvPr>
          <p:cNvSpPr/>
          <p:nvPr/>
        </p:nvSpPr>
        <p:spPr>
          <a:xfrm>
            <a:off x="3392939" y="3269712"/>
            <a:ext cx="788610" cy="342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Queue</a:t>
            </a:r>
          </a:p>
        </p:txBody>
      </p:sp>
      <p:sp>
        <p:nvSpPr>
          <p:cNvPr id="35" name="Rechteck: abgerundete Ecken 34">
            <a:extLst>
              <a:ext uri="{FF2B5EF4-FFF2-40B4-BE49-F238E27FC236}">
                <a16:creationId xmlns:a16="http://schemas.microsoft.com/office/drawing/2014/main" id="{AA4E493F-8F9E-484B-A395-23653D707A11}"/>
              </a:ext>
            </a:extLst>
          </p:cNvPr>
          <p:cNvSpPr/>
          <p:nvPr/>
        </p:nvSpPr>
        <p:spPr>
          <a:xfrm>
            <a:off x="4355427" y="2682719"/>
            <a:ext cx="788610" cy="342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Topic</a:t>
            </a:r>
          </a:p>
        </p:txBody>
      </p:sp>
    </p:spTree>
    <p:extLst>
      <p:ext uri="{BB962C8B-B14F-4D97-AF65-F5344CB8AC3E}">
        <p14:creationId xmlns:p14="http://schemas.microsoft.com/office/powerpoint/2010/main" val="26869856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4" grpId="0" animBg="1"/>
      <p:bldP spid="13" grpId="0" animBg="1"/>
      <p:bldP spid="3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7BA98C8-C9EB-45E7-85B1-C7D1FE7458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Welche Aspekte müssen wir beachten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D53C95E-1584-400D-B8B5-03F5E1A3892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4000" y="1107000"/>
            <a:ext cx="6899716" cy="921855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Die Verwendung von Topics ist die Ursache der Fehlermeldu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Ob über Queue oder HTTP, es wird nur an eine Instanz eine Nachricht übermittel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Auf anderen Systemen in der IT wird bereits über Topics/Queues kommuniziert</a:t>
            </a:r>
          </a:p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C3B25B6-357C-4C4C-B3E6-76A6F7F5CE1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BF23495-3610-43AD-9AE2-71546DA71A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lche Kommunikationsart ist am besten für </a:t>
            </a:r>
            <a:r>
              <a:rPr lang="de-DE" dirty="0" err="1"/>
              <a:t>AlarmIT</a:t>
            </a:r>
            <a:r>
              <a:rPr lang="de-DE" dirty="0"/>
              <a:t> geeignet?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EECD337-E121-4AA0-B450-FFD7C808238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15A12228-BB2B-4F1E-8935-50EA9462D8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4" name="Textplatzhalter 1">
            <a:extLst>
              <a:ext uri="{FF2B5EF4-FFF2-40B4-BE49-F238E27FC236}">
                <a16:creationId xmlns:a16="http://schemas.microsoft.com/office/drawing/2014/main" id="{632763EC-BE02-48DF-ACF9-8AADCADE337B}"/>
              </a:ext>
            </a:extLst>
          </p:cNvPr>
          <p:cNvSpPr txBox="1">
            <a:spLocks/>
          </p:cNvSpPr>
          <p:nvPr/>
        </p:nvSpPr>
        <p:spPr>
          <a:xfrm>
            <a:off x="220122" y="2230341"/>
            <a:ext cx="4338000" cy="40164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FontTx/>
              <a:buNone/>
              <a:defRPr sz="1200" b="1" i="0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Welche Kommunikationsart sollten wir verwenden und warum?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23807555-6CE2-419E-A118-B4C8A85A97C5}"/>
              </a:ext>
            </a:extLst>
          </p:cNvPr>
          <p:cNvSpPr txBox="1">
            <a:spLocks/>
          </p:cNvSpPr>
          <p:nvPr/>
        </p:nvSpPr>
        <p:spPr>
          <a:xfrm>
            <a:off x="220122" y="2708284"/>
            <a:ext cx="6899716" cy="920830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Eine Queue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de-DE" dirty="0"/>
              <a:t>Sie verhindert das Problem einer doppelten Ausführung 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de-DE" dirty="0"/>
              <a:t>Bietet einen mit anderen Anwendungsbereichen einheitlichen Kommunikationsweg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9004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43CFDB1-A015-4CD6-9277-ED0736F0FD8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9701A5-1A94-4528-9FE0-56581A1141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231B94F-DE47-4F93-BCEF-92FC634363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A2F2F70-84B2-420E-91AF-AFD24D6C608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B66A860-2904-44ED-9C7D-F67BB8982A6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097C8AEB-018A-4679-9F45-D4BE22B1BC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A6A1F39-CFD0-4C81-A1E4-46E5BE3DF6D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0F8654CC-A999-418D-8625-00E5509F69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39886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D726A17-C210-401A-AD5D-9DA5213A86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Jetzt dürft ihr mich fertig machen!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5A76C9-69A4-4382-9D53-A213EE41C1E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119355A-6119-4D21-920F-FB54C89CBE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eedback </a:t>
            </a:r>
            <a:r>
              <a:rPr lang="de-DE" dirty="0" err="1"/>
              <a:t>Please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60EA8CB-38B4-4B85-909C-327657E714E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7A7B88D0-AD53-4CB0-A216-665A39AD7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15055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805670F-50F9-8584-9AFF-49A06DD823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Was </a:t>
            </a:r>
            <a:r>
              <a:rPr lang="en-GB" dirty="0" err="1"/>
              <a:t>ist</a:t>
            </a:r>
            <a:r>
              <a:rPr lang="en-GB" dirty="0"/>
              <a:t>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verteiltes</a:t>
            </a:r>
            <a:r>
              <a:rPr lang="en-GB" dirty="0"/>
              <a:t> System?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1961FD-480C-54D7-C4A7-644831FEB4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3999" y="1107000"/>
            <a:ext cx="6596291" cy="2229906"/>
          </a:xfrm>
        </p:spPr>
        <p:txBody>
          <a:bodyPr/>
          <a:lstStyle/>
          <a:p>
            <a:r>
              <a:rPr lang="en-GB" dirty="0"/>
              <a:t>Eine </a:t>
            </a:r>
            <a:r>
              <a:rPr lang="en-GB" dirty="0" err="1"/>
              <a:t>Sammlung</a:t>
            </a:r>
            <a:r>
              <a:rPr lang="en-GB" dirty="0"/>
              <a:t> von </a:t>
            </a:r>
            <a:r>
              <a:rPr lang="en-GB" dirty="0" err="1"/>
              <a:t>Programmen</a:t>
            </a:r>
            <a:r>
              <a:rPr lang="en-GB" dirty="0"/>
              <a:t> die </a:t>
            </a:r>
            <a:r>
              <a:rPr lang="en-GB" dirty="0" err="1"/>
              <a:t>Rechenressourcen</a:t>
            </a:r>
            <a:r>
              <a:rPr lang="en-GB" dirty="0"/>
              <a:t> </a:t>
            </a:r>
            <a:r>
              <a:rPr lang="en-GB" dirty="0" err="1"/>
              <a:t>über</a:t>
            </a:r>
            <a:r>
              <a:rPr lang="en-GB" dirty="0"/>
              <a:t> </a:t>
            </a:r>
            <a:r>
              <a:rPr lang="en-GB" dirty="0" err="1"/>
              <a:t>getrennte</a:t>
            </a:r>
            <a:r>
              <a:rPr lang="en-GB" dirty="0"/>
              <a:t> </a:t>
            </a:r>
            <a:r>
              <a:rPr lang="en-GB" dirty="0" err="1"/>
              <a:t>Rechenknoten</a:t>
            </a:r>
            <a:r>
              <a:rPr lang="en-GB" dirty="0"/>
              <a:t> </a:t>
            </a:r>
            <a:r>
              <a:rPr lang="en-GB" dirty="0" err="1"/>
              <a:t>nutzen</a:t>
            </a:r>
            <a:r>
              <a:rPr lang="en-GB" dirty="0"/>
              <a:t>, um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gemeinsames</a:t>
            </a:r>
            <a:r>
              <a:rPr lang="en-GB" dirty="0"/>
              <a:t> </a:t>
            </a:r>
            <a:r>
              <a:rPr lang="en-GB" dirty="0" err="1"/>
              <a:t>Ziel</a:t>
            </a:r>
            <a:r>
              <a:rPr lang="en-GB" dirty="0"/>
              <a:t> </a:t>
            </a:r>
            <a:r>
              <a:rPr lang="en-GB" dirty="0" err="1"/>
              <a:t>zu</a:t>
            </a:r>
            <a:r>
              <a:rPr lang="en-GB" dirty="0"/>
              <a:t> </a:t>
            </a:r>
            <a:r>
              <a:rPr lang="en-GB" dirty="0" err="1"/>
              <a:t>erreichen</a:t>
            </a:r>
            <a:r>
              <a:rPr lang="en-GB" dirty="0"/>
              <a:t>.</a:t>
            </a:r>
          </a:p>
          <a:p>
            <a:endParaRPr lang="en-GB" dirty="0"/>
          </a:p>
          <a:p>
            <a:endParaRPr lang="en-GB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b="1" dirty="0"/>
              <a:t>Es gibt zwei hauptkommunikationsarten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Synchrone Kommunik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Asynchrone Kommunik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5FF7CD-2211-53F5-A28D-BA72CBC72EB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63B220B8-5DF3-ABFF-5D7B-7416AFF6FF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Verteilte</a:t>
            </a:r>
            <a:r>
              <a:rPr lang="en-GB" dirty="0"/>
              <a:t> </a:t>
            </a:r>
            <a:r>
              <a:rPr lang="en-GB" dirty="0" err="1"/>
              <a:t>Systeme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5501EF5-19F3-F79A-102F-B80C67CDFFA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D53542A9-B90D-0FA6-36C3-D4278D393D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08981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AD1A218-147E-41D8-B560-56F369A50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68A4A608-6311-4C5E-B02A-01DE7E2F95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larmIT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B87BC89-0F6A-48A3-8747-FD2D419BB70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ECB862-CE12-4D39-B1BB-BC3BB5DF10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085AF3C-CBA1-4388-97B1-93312FF712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223" y="794626"/>
            <a:ext cx="7987553" cy="2603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3061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00E83D9-A63F-4861-86A3-C8B6A79B046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669BB4-C76C-4C17-AC96-B44FB0B30A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larmIT</a:t>
            </a:r>
            <a:r>
              <a:rPr lang="de-DE" dirty="0"/>
              <a:t> ist ein einfaches verteiltes System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AA78F7BF-BC09-4451-99A2-5CFC28999A7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1C395A-F014-4C53-B3A5-0E1FD5D11B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3078" name="Picture 6" descr="Apache ActiveMQ – Wikipedia">
            <a:extLst>
              <a:ext uri="{FF2B5EF4-FFF2-40B4-BE49-F238E27FC236}">
                <a16:creationId xmlns:a16="http://schemas.microsoft.com/office/drawing/2014/main" id="{6DE69F25-DC43-4FCD-A47E-1D39321723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48" y="1084058"/>
            <a:ext cx="1673465" cy="1364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feil: nach rechts 18">
            <a:extLst>
              <a:ext uri="{FF2B5EF4-FFF2-40B4-BE49-F238E27FC236}">
                <a16:creationId xmlns:a16="http://schemas.microsoft.com/office/drawing/2014/main" id="{53B88DBC-6C2B-4124-902A-601728AE7BE1}"/>
              </a:ext>
            </a:extLst>
          </p:cNvPr>
          <p:cNvSpPr/>
          <p:nvPr/>
        </p:nvSpPr>
        <p:spPr>
          <a:xfrm>
            <a:off x="2292981" y="1657828"/>
            <a:ext cx="1337676" cy="2189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800" dirty="0"/>
          </a:p>
        </p:txBody>
      </p:sp>
      <p:sp>
        <p:nvSpPr>
          <p:cNvPr id="25" name="Pfeil: nach rechts 24">
            <a:extLst>
              <a:ext uri="{FF2B5EF4-FFF2-40B4-BE49-F238E27FC236}">
                <a16:creationId xmlns:a16="http://schemas.microsoft.com/office/drawing/2014/main" id="{329C0C9A-4CD9-4A63-A672-ECFC764A9E5A}"/>
              </a:ext>
            </a:extLst>
          </p:cNvPr>
          <p:cNvSpPr/>
          <p:nvPr/>
        </p:nvSpPr>
        <p:spPr>
          <a:xfrm rot="5400000">
            <a:off x="4174943" y="2853385"/>
            <a:ext cx="771222" cy="15112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5B760D7-F582-4F1A-9DCE-C6FAA7168128}"/>
              </a:ext>
            </a:extLst>
          </p:cNvPr>
          <p:cNvSpPr/>
          <p:nvPr/>
        </p:nvSpPr>
        <p:spPr>
          <a:xfrm>
            <a:off x="610948" y="3693939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0C84DD65-DF4A-4776-9F83-26AD767A1B04}"/>
              </a:ext>
            </a:extLst>
          </p:cNvPr>
          <p:cNvSpPr/>
          <p:nvPr/>
        </p:nvSpPr>
        <p:spPr>
          <a:xfrm rot="16200000">
            <a:off x="974929" y="3005328"/>
            <a:ext cx="944264" cy="21962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5361A510-900F-4FC5-8250-EF83F431B3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70282" y="1494682"/>
            <a:ext cx="1564513" cy="50998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E9008DE7-6FED-4C72-838F-CC621D94AE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18206" y="1387802"/>
            <a:ext cx="723743" cy="723743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A1E97A2B-AD92-4E14-A086-85EEDA33CC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78988" y="3376030"/>
            <a:ext cx="1149174" cy="1149174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8AEAB48A-CB67-407D-8054-3E3F11B246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78988" y="1215296"/>
            <a:ext cx="1154424" cy="1154424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685FCCA7-0B34-18FD-2C05-C4053B2CFA4C}"/>
              </a:ext>
            </a:extLst>
          </p:cNvPr>
          <p:cNvSpPr txBox="1"/>
          <p:nvPr/>
        </p:nvSpPr>
        <p:spPr>
          <a:xfrm>
            <a:off x="4085905" y="978923"/>
            <a:ext cx="949299" cy="33855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GB" sz="1600" b="1" dirty="0" err="1">
                <a:solidFill>
                  <a:srgbClr val="FF0000"/>
                </a:solidFill>
              </a:rPr>
              <a:t>AlarmIT</a:t>
            </a:r>
            <a:endParaRPr lang="de-DE" sz="1600" b="1" dirty="0">
              <a:solidFill>
                <a:srgbClr val="FF0000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7A23D42-6108-AC50-BA9C-0D4EC2978F79}"/>
              </a:ext>
            </a:extLst>
          </p:cNvPr>
          <p:cNvSpPr txBox="1"/>
          <p:nvPr/>
        </p:nvSpPr>
        <p:spPr>
          <a:xfrm>
            <a:off x="4029792" y="4432788"/>
            <a:ext cx="10475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err="1"/>
              <a:t>Datenbank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C0B0197-0490-57AF-9C73-0A5F0C88D92E}"/>
              </a:ext>
            </a:extLst>
          </p:cNvPr>
          <p:cNvSpPr txBox="1"/>
          <p:nvPr/>
        </p:nvSpPr>
        <p:spPr>
          <a:xfrm>
            <a:off x="7288427" y="1163588"/>
            <a:ext cx="5282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GUI</a:t>
            </a:r>
            <a:endParaRPr lang="de-DE" dirty="0"/>
          </a:p>
        </p:txBody>
      </p:sp>
      <p:sp>
        <p:nvSpPr>
          <p:cNvPr id="11" name="Pfeil: nach links 10">
            <a:extLst>
              <a:ext uri="{FF2B5EF4-FFF2-40B4-BE49-F238E27FC236}">
                <a16:creationId xmlns:a16="http://schemas.microsoft.com/office/drawing/2014/main" id="{7317D837-D5B6-1269-97AF-FF4F71F1E705}"/>
              </a:ext>
            </a:extLst>
          </p:cNvPr>
          <p:cNvSpPr/>
          <p:nvPr/>
        </p:nvSpPr>
        <p:spPr>
          <a:xfrm>
            <a:off x="5309625" y="1642963"/>
            <a:ext cx="1291701" cy="246221"/>
          </a:xfrm>
          <a:prstGeom prst="lef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 dirty="0">
              <a:solidFill>
                <a:srgbClr val="FF0000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046A8E8-14A2-9E54-9DAA-3EC102C47A13}"/>
              </a:ext>
            </a:extLst>
          </p:cNvPr>
          <p:cNvSpPr txBox="1"/>
          <p:nvPr/>
        </p:nvSpPr>
        <p:spPr>
          <a:xfrm>
            <a:off x="2213393" y="1443007"/>
            <a:ext cx="147084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Asynchrone Nachricht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854757A-45AB-D4BE-A8F6-AA1896BFDF67}"/>
              </a:ext>
            </a:extLst>
          </p:cNvPr>
          <p:cNvSpPr txBox="1"/>
          <p:nvPr/>
        </p:nvSpPr>
        <p:spPr>
          <a:xfrm>
            <a:off x="5302368" y="1411607"/>
            <a:ext cx="147084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Synchrone Nachricht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CB31109-E659-A156-061B-AC36C42193CF}"/>
              </a:ext>
            </a:extLst>
          </p:cNvPr>
          <p:cNvSpPr txBox="1"/>
          <p:nvPr/>
        </p:nvSpPr>
        <p:spPr>
          <a:xfrm>
            <a:off x="1518701" y="2915086"/>
            <a:ext cx="8704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Asynchrone </a:t>
            </a:r>
          </a:p>
          <a:p>
            <a:r>
              <a:rPr lang="de-DE" sz="1000" dirty="0"/>
              <a:t>Nachricht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4C7D5CB9-0DB9-3D8F-DCE9-A1C8D584CEE3}"/>
              </a:ext>
            </a:extLst>
          </p:cNvPr>
          <p:cNvSpPr txBox="1"/>
          <p:nvPr/>
        </p:nvSpPr>
        <p:spPr>
          <a:xfrm>
            <a:off x="4572000" y="2720589"/>
            <a:ext cx="8704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Asynchrone </a:t>
            </a:r>
          </a:p>
          <a:p>
            <a:r>
              <a:rPr lang="de-DE" sz="1000" dirty="0"/>
              <a:t>Nachricht</a:t>
            </a:r>
          </a:p>
        </p:txBody>
      </p:sp>
    </p:spTree>
    <p:extLst>
      <p:ext uri="{BB962C8B-B14F-4D97-AF65-F5344CB8AC3E}">
        <p14:creationId xmlns:p14="http://schemas.microsoft.com/office/powerpoint/2010/main" val="20058230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00E83D9-A63F-4861-86A3-C8B6A79B046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669BB4-C76C-4C17-AC96-B44FB0B30A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grenzung des Kontextes durch Docker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AA78F7BF-BC09-4451-99A2-5CFC28999A7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1C395A-F014-4C53-B3A5-0E1FD5D11B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3078" name="Picture 6" descr="Apache ActiveMQ – Wikipedia">
            <a:extLst>
              <a:ext uri="{FF2B5EF4-FFF2-40B4-BE49-F238E27FC236}">
                <a16:creationId xmlns:a16="http://schemas.microsoft.com/office/drawing/2014/main" id="{6DE69F25-DC43-4FCD-A47E-1D39321723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375" y="1361267"/>
            <a:ext cx="1673465" cy="1364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feil: nach rechts 18">
            <a:extLst>
              <a:ext uri="{FF2B5EF4-FFF2-40B4-BE49-F238E27FC236}">
                <a16:creationId xmlns:a16="http://schemas.microsoft.com/office/drawing/2014/main" id="{53B88DBC-6C2B-4124-902A-601728AE7BE1}"/>
              </a:ext>
            </a:extLst>
          </p:cNvPr>
          <p:cNvSpPr/>
          <p:nvPr/>
        </p:nvSpPr>
        <p:spPr>
          <a:xfrm>
            <a:off x="2501151" y="2011581"/>
            <a:ext cx="1337676" cy="2189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800" dirty="0"/>
          </a:p>
        </p:txBody>
      </p:sp>
      <p:sp>
        <p:nvSpPr>
          <p:cNvPr id="25" name="Pfeil: nach rechts 24">
            <a:extLst>
              <a:ext uri="{FF2B5EF4-FFF2-40B4-BE49-F238E27FC236}">
                <a16:creationId xmlns:a16="http://schemas.microsoft.com/office/drawing/2014/main" id="{329C0C9A-4CD9-4A63-A672-ECFC764A9E5A}"/>
              </a:ext>
            </a:extLst>
          </p:cNvPr>
          <p:cNvSpPr/>
          <p:nvPr/>
        </p:nvSpPr>
        <p:spPr>
          <a:xfrm rot="478914">
            <a:off x="5321548" y="2342862"/>
            <a:ext cx="1284421" cy="26134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5B760D7-F582-4F1A-9DCE-C6FAA7168128}"/>
              </a:ext>
            </a:extLst>
          </p:cNvPr>
          <p:cNvSpPr/>
          <p:nvPr/>
        </p:nvSpPr>
        <p:spPr>
          <a:xfrm>
            <a:off x="610948" y="3801274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0C84DD65-DF4A-4776-9F83-26AD767A1B04}"/>
              </a:ext>
            </a:extLst>
          </p:cNvPr>
          <p:cNvSpPr/>
          <p:nvPr/>
        </p:nvSpPr>
        <p:spPr>
          <a:xfrm rot="16200000">
            <a:off x="939641" y="3199579"/>
            <a:ext cx="944264" cy="21962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5361A510-900F-4FC5-8250-EF83F431B3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87713" y="1293681"/>
            <a:ext cx="1564513" cy="50998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E9008DE7-6FED-4C72-838F-CC621D94AE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35637" y="1186801"/>
            <a:ext cx="723743" cy="723743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A1E97A2B-AD92-4E14-A086-85EEDA33CC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57578" y="1981835"/>
            <a:ext cx="1149174" cy="1149174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8AEAB48A-CB67-407D-8054-3E3F11B246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97014" y="1597640"/>
            <a:ext cx="1154424" cy="1154424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685FCCA7-0B34-18FD-2C05-C4053B2CFA4C}"/>
              </a:ext>
            </a:extLst>
          </p:cNvPr>
          <p:cNvSpPr txBox="1"/>
          <p:nvPr/>
        </p:nvSpPr>
        <p:spPr>
          <a:xfrm>
            <a:off x="4103931" y="1361267"/>
            <a:ext cx="949299" cy="33855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GB" sz="1600" b="1" dirty="0" err="1">
                <a:solidFill>
                  <a:srgbClr val="FF0000"/>
                </a:solidFill>
              </a:rPr>
              <a:t>AlarmIT</a:t>
            </a:r>
            <a:endParaRPr lang="de-DE" sz="1600" b="1" dirty="0">
              <a:solidFill>
                <a:srgbClr val="FF0000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7A23D42-6108-AC50-BA9C-0D4EC2978F79}"/>
              </a:ext>
            </a:extLst>
          </p:cNvPr>
          <p:cNvSpPr txBox="1"/>
          <p:nvPr/>
        </p:nvSpPr>
        <p:spPr>
          <a:xfrm>
            <a:off x="6708382" y="3038593"/>
            <a:ext cx="10475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err="1"/>
              <a:t>Datenbank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C0B0197-0490-57AF-9C73-0A5F0C88D92E}"/>
              </a:ext>
            </a:extLst>
          </p:cNvPr>
          <p:cNvSpPr txBox="1"/>
          <p:nvPr/>
        </p:nvSpPr>
        <p:spPr>
          <a:xfrm>
            <a:off x="7305858" y="962587"/>
            <a:ext cx="5282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GUI</a:t>
            </a:r>
            <a:endParaRPr lang="de-DE" dirty="0"/>
          </a:p>
        </p:txBody>
      </p:sp>
      <p:sp>
        <p:nvSpPr>
          <p:cNvPr id="11" name="Pfeil: nach links 10">
            <a:extLst>
              <a:ext uri="{FF2B5EF4-FFF2-40B4-BE49-F238E27FC236}">
                <a16:creationId xmlns:a16="http://schemas.microsoft.com/office/drawing/2014/main" id="{7317D837-D5B6-1269-97AF-FF4F71F1E705}"/>
              </a:ext>
            </a:extLst>
          </p:cNvPr>
          <p:cNvSpPr/>
          <p:nvPr/>
        </p:nvSpPr>
        <p:spPr>
          <a:xfrm rot="21065994">
            <a:off x="5309625" y="1642963"/>
            <a:ext cx="1291701" cy="246221"/>
          </a:xfrm>
          <a:prstGeom prst="lef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 dirty="0">
              <a:solidFill>
                <a:srgbClr val="FF0000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E9A8B80C-0976-5D56-17EE-E03F57CA6691}"/>
              </a:ext>
            </a:extLst>
          </p:cNvPr>
          <p:cNvSpPr/>
          <p:nvPr/>
        </p:nvSpPr>
        <p:spPr>
          <a:xfrm>
            <a:off x="539749" y="859715"/>
            <a:ext cx="8106019" cy="2727558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86238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00E83D9-A63F-4861-86A3-C8B6A79B046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669BB4-C76C-4C17-AC96-B44FB0B30A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ondere Eigenschaft von </a:t>
            </a:r>
            <a:r>
              <a:rPr lang="de-DE" dirty="0" err="1"/>
              <a:t>AlarmIT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AA78F7BF-BC09-4451-99A2-5CFC28999A7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1C395A-F014-4C53-B3A5-0E1FD5D11B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5EA52C15-0172-40BE-A45F-0B14BF5F3565}"/>
              </a:ext>
            </a:extLst>
          </p:cNvPr>
          <p:cNvSpPr/>
          <p:nvPr/>
        </p:nvSpPr>
        <p:spPr>
          <a:xfrm>
            <a:off x="952500" y="1186874"/>
            <a:ext cx="7493000" cy="2498435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FD5F37D-A9E2-4812-AE13-3080CFBC047A}"/>
              </a:ext>
            </a:extLst>
          </p:cNvPr>
          <p:cNvSpPr txBox="1"/>
          <p:nvPr/>
        </p:nvSpPr>
        <p:spPr>
          <a:xfrm>
            <a:off x="234000" y="761014"/>
            <a:ext cx="457517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 err="1"/>
              <a:t>AlarmIT</a:t>
            </a:r>
            <a:r>
              <a:rPr lang="de-DE" b="1" dirty="0"/>
              <a:t> verwendet Zero Downtime </a:t>
            </a:r>
            <a:r>
              <a:rPr lang="de-DE" b="1" dirty="0" err="1"/>
              <a:t>Deployment</a:t>
            </a:r>
            <a:endParaRPr lang="de-DE" b="1" dirty="0"/>
          </a:p>
        </p:txBody>
      </p:sp>
      <p:pic>
        <p:nvPicPr>
          <p:cNvPr id="3078" name="Picture 6" descr="Apache ActiveMQ – Wikipedia">
            <a:extLst>
              <a:ext uri="{FF2B5EF4-FFF2-40B4-BE49-F238E27FC236}">
                <a16:creationId xmlns:a16="http://schemas.microsoft.com/office/drawing/2014/main" id="{6DE69F25-DC43-4FCD-A47E-1D39321723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999" y="1754075"/>
            <a:ext cx="1673465" cy="1364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69F40972-C1C5-545F-D309-BB9CA65ECF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2402" y="2453842"/>
            <a:ext cx="883435" cy="88343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EDC9DB61-CEDD-DEEF-9373-CB89CBE63A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58540" y="1754280"/>
            <a:ext cx="626920" cy="626920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44F96D30-611C-D47F-683A-C61CCB56030F}"/>
              </a:ext>
            </a:extLst>
          </p:cNvPr>
          <p:cNvSpPr txBox="1"/>
          <p:nvPr/>
        </p:nvSpPr>
        <p:spPr>
          <a:xfrm>
            <a:off x="4206222" y="1577843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1</a:t>
            </a:r>
            <a:endParaRPr lang="de-DE" sz="900" b="1" dirty="0">
              <a:solidFill>
                <a:srgbClr val="FF0000"/>
              </a:solidFill>
            </a:endParaRP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53C6D3FC-8594-FBB9-53C7-AFC844BB7C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58540" y="2582100"/>
            <a:ext cx="626920" cy="626920"/>
          </a:xfrm>
          <a:prstGeom prst="rect">
            <a:avLst/>
          </a:prstGeom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64B01283-109D-EA8F-E8F9-A1B25E7124A8}"/>
              </a:ext>
            </a:extLst>
          </p:cNvPr>
          <p:cNvSpPr txBox="1"/>
          <p:nvPr/>
        </p:nvSpPr>
        <p:spPr>
          <a:xfrm>
            <a:off x="4206222" y="2405663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2</a:t>
            </a:r>
            <a:endParaRPr lang="de-DE" sz="900" b="1" dirty="0">
              <a:solidFill>
                <a:srgbClr val="FF0000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037DBD8E-ED01-BCFC-7177-8D42910AF103}"/>
              </a:ext>
            </a:extLst>
          </p:cNvPr>
          <p:cNvSpPr/>
          <p:nvPr/>
        </p:nvSpPr>
        <p:spPr>
          <a:xfrm>
            <a:off x="1168739" y="3849271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sp>
        <p:nvSpPr>
          <p:cNvPr id="36" name="Pfeil: nach rechts 35">
            <a:extLst>
              <a:ext uri="{FF2B5EF4-FFF2-40B4-BE49-F238E27FC236}">
                <a16:creationId xmlns:a16="http://schemas.microsoft.com/office/drawing/2014/main" id="{EF66B209-9F8B-9AE9-8F16-42421D499FA8}"/>
              </a:ext>
            </a:extLst>
          </p:cNvPr>
          <p:cNvSpPr/>
          <p:nvPr/>
        </p:nvSpPr>
        <p:spPr>
          <a:xfrm>
            <a:off x="2751464" y="1916465"/>
            <a:ext cx="1337676" cy="2189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800" dirty="0"/>
          </a:p>
        </p:txBody>
      </p:sp>
      <p:sp>
        <p:nvSpPr>
          <p:cNvPr id="38" name="Pfeil: nach rechts 37">
            <a:extLst>
              <a:ext uri="{FF2B5EF4-FFF2-40B4-BE49-F238E27FC236}">
                <a16:creationId xmlns:a16="http://schemas.microsoft.com/office/drawing/2014/main" id="{88D8DE4A-9061-DBF8-032E-E3BB9C274436}"/>
              </a:ext>
            </a:extLst>
          </p:cNvPr>
          <p:cNvSpPr/>
          <p:nvPr/>
        </p:nvSpPr>
        <p:spPr>
          <a:xfrm rot="16200000">
            <a:off x="1675489" y="3370035"/>
            <a:ext cx="659964" cy="2189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800" dirty="0"/>
          </a:p>
        </p:txBody>
      </p:sp>
      <p:sp>
        <p:nvSpPr>
          <p:cNvPr id="40" name="Pfeil: nach rechts 39">
            <a:extLst>
              <a:ext uri="{FF2B5EF4-FFF2-40B4-BE49-F238E27FC236}">
                <a16:creationId xmlns:a16="http://schemas.microsoft.com/office/drawing/2014/main" id="{A1B281B0-F905-E4FB-D3D6-D641A8884D6B}"/>
              </a:ext>
            </a:extLst>
          </p:cNvPr>
          <p:cNvSpPr/>
          <p:nvPr/>
        </p:nvSpPr>
        <p:spPr>
          <a:xfrm rot="1311457">
            <a:off x="5155094" y="2376512"/>
            <a:ext cx="1337676" cy="2189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800" dirty="0"/>
          </a:p>
        </p:txBody>
      </p:sp>
      <p:sp>
        <p:nvSpPr>
          <p:cNvPr id="41" name="Pfeil: nach rechts 40">
            <a:extLst>
              <a:ext uri="{FF2B5EF4-FFF2-40B4-BE49-F238E27FC236}">
                <a16:creationId xmlns:a16="http://schemas.microsoft.com/office/drawing/2014/main" id="{6BB143BE-FC01-43AD-F006-39D6A59A39F5}"/>
              </a:ext>
            </a:extLst>
          </p:cNvPr>
          <p:cNvSpPr/>
          <p:nvPr/>
        </p:nvSpPr>
        <p:spPr>
          <a:xfrm rot="10800000">
            <a:off x="5155791" y="1848834"/>
            <a:ext cx="1355186" cy="218906"/>
          </a:xfrm>
          <a:prstGeom prst="righ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800" dirty="0"/>
          </a:p>
        </p:txBody>
      </p:sp>
      <p:pic>
        <p:nvPicPr>
          <p:cNvPr id="43" name="Grafik 42">
            <a:extLst>
              <a:ext uri="{FF2B5EF4-FFF2-40B4-BE49-F238E27FC236}">
                <a16:creationId xmlns:a16="http://schemas.microsoft.com/office/drawing/2014/main" id="{ED913E49-453B-40AC-3277-FF8C0A8E3E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63128" y="1661473"/>
            <a:ext cx="1564513" cy="509984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E6BDE96C-F3CB-4B26-F3E0-528475E20C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11052" y="1554593"/>
            <a:ext cx="723743" cy="723743"/>
          </a:xfrm>
          <a:prstGeom prst="rect">
            <a:avLst/>
          </a:prstGeom>
        </p:spPr>
      </p:pic>
      <p:sp>
        <p:nvSpPr>
          <p:cNvPr id="47" name="Textfeld 46">
            <a:extLst>
              <a:ext uri="{FF2B5EF4-FFF2-40B4-BE49-F238E27FC236}">
                <a16:creationId xmlns:a16="http://schemas.microsoft.com/office/drawing/2014/main" id="{792FA55B-34E0-6396-891D-09513E24823E}"/>
              </a:ext>
            </a:extLst>
          </p:cNvPr>
          <p:cNvSpPr txBox="1"/>
          <p:nvPr/>
        </p:nvSpPr>
        <p:spPr>
          <a:xfrm>
            <a:off x="7181273" y="1330379"/>
            <a:ext cx="5282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GUI</a:t>
            </a:r>
            <a:endParaRPr lang="de-DE" dirty="0"/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D28FAF33-FF0D-6319-9AD7-0C5C0BAA6CB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78511" y="1860273"/>
            <a:ext cx="1151636" cy="1151636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210DC9FB-F761-5D00-9811-0FF6BA27E6C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57926" y="1863125"/>
            <a:ext cx="1151636" cy="1151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3125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36" grpId="0" animBg="1"/>
      <p:bldP spid="40" grpId="0" animBg="1"/>
      <p:bldP spid="4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78592B0-3549-40AE-9F88-38A678A263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320" y="2152342"/>
            <a:ext cx="6924312" cy="567848"/>
          </a:xfrm>
          <a:ln w="44450">
            <a:gradFill flip="none" rotWithShape="1">
              <a:gsLst>
                <a:gs pos="26566">
                  <a:srgbClr val="FEE1CD"/>
                </a:gs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a:ln>
        </p:spPr>
        <p:txBody>
          <a:bodyPr/>
          <a:lstStyle/>
          <a:p>
            <a:r>
              <a:rPr lang="de-DE" sz="1800" dirty="0"/>
              <a:t>Welche Kommunikationsarten gibt es und wie verhalten sie sich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C616CB3-A24F-4BFE-B60C-2E2F1C68DC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58000" y="2028855"/>
            <a:ext cx="4338000" cy="485839"/>
          </a:xfrm>
        </p:spPr>
        <p:txBody>
          <a:bodyPr/>
          <a:lstStyle/>
          <a:p>
            <a:endParaRPr lang="de-DE" sz="1800" dirty="0"/>
          </a:p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75C3F8F-7356-47F1-811C-227F490E191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3F9E8D2-D01C-4420-9F13-898EE190D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shop Thematik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437718D-C257-409B-A778-0E0768A0C1A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CFD6AB9-7AAD-4DD7-BA14-5247315721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7635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013BC98-1692-45AB-986F-CED4467D9B9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936068" y="4419309"/>
            <a:ext cx="3271864" cy="267830"/>
          </a:xfrm>
        </p:spPr>
        <p:txBody>
          <a:bodyPr/>
          <a:lstStyle/>
          <a:p>
            <a:r>
              <a:rPr lang="de-DE" dirty="0">
                <a:hlinkClick r:id="rId2"/>
              </a:rPr>
              <a:t>https://github.com/shs-it/VerarbeitungsCounter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CF91F82-5E1B-4D62-A305-9C9A67D3F43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795A0181-7F76-4A80-91D5-3113900FC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aktischer Teil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D46F17-8AA4-4A04-9926-81B23EA752F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A751215-8486-48E0-9DB0-392203FD91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44C3E592-5256-403E-B92E-82A8DACFE7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6923" y="908466"/>
            <a:ext cx="6980153" cy="3326567"/>
          </a:xfrm>
          <a:prstGeom prst="rect">
            <a:avLst/>
          </a:prstGeom>
          <a:ln w="63500" cmpd="dbl">
            <a:gradFill>
              <a:gsLst>
                <a:gs pos="0">
                  <a:srgbClr val="765690"/>
                </a:gs>
                <a:gs pos="100000">
                  <a:schemeClr val="tx1"/>
                </a:gs>
              </a:gsLst>
              <a:lin ang="5400000" scaled="1"/>
            </a:gra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6980153"/>
                      <a:gd name="connsiteY0" fmla="*/ 0 h 3326567"/>
                      <a:gd name="connsiteX1" fmla="*/ 511878 w 6980153"/>
                      <a:gd name="connsiteY1" fmla="*/ 0 h 3326567"/>
                      <a:gd name="connsiteX2" fmla="*/ 1163359 w 6980153"/>
                      <a:gd name="connsiteY2" fmla="*/ 0 h 3326567"/>
                      <a:gd name="connsiteX3" fmla="*/ 1605435 w 6980153"/>
                      <a:gd name="connsiteY3" fmla="*/ 0 h 3326567"/>
                      <a:gd name="connsiteX4" fmla="*/ 2187115 w 6980153"/>
                      <a:gd name="connsiteY4" fmla="*/ 0 h 3326567"/>
                      <a:gd name="connsiteX5" fmla="*/ 2838596 w 6980153"/>
                      <a:gd name="connsiteY5" fmla="*/ 0 h 3326567"/>
                      <a:gd name="connsiteX6" fmla="*/ 3210870 w 6980153"/>
                      <a:gd name="connsiteY6" fmla="*/ 0 h 3326567"/>
                      <a:gd name="connsiteX7" fmla="*/ 3583145 w 6980153"/>
                      <a:gd name="connsiteY7" fmla="*/ 0 h 3326567"/>
                      <a:gd name="connsiteX8" fmla="*/ 4304428 w 6980153"/>
                      <a:gd name="connsiteY8" fmla="*/ 0 h 3326567"/>
                      <a:gd name="connsiteX9" fmla="*/ 4886107 w 6980153"/>
                      <a:gd name="connsiteY9" fmla="*/ 0 h 3326567"/>
                      <a:gd name="connsiteX10" fmla="*/ 5258382 w 6980153"/>
                      <a:gd name="connsiteY10" fmla="*/ 0 h 3326567"/>
                      <a:gd name="connsiteX11" fmla="*/ 5840061 w 6980153"/>
                      <a:gd name="connsiteY11" fmla="*/ 0 h 3326567"/>
                      <a:gd name="connsiteX12" fmla="*/ 6980153 w 6980153"/>
                      <a:gd name="connsiteY12" fmla="*/ 0 h 3326567"/>
                      <a:gd name="connsiteX13" fmla="*/ 6980153 w 6980153"/>
                      <a:gd name="connsiteY13" fmla="*/ 521162 h 3326567"/>
                      <a:gd name="connsiteX14" fmla="*/ 6980153 w 6980153"/>
                      <a:gd name="connsiteY14" fmla="*/ 1075590 h 3326567"/>
                      <a:gd name="connsiteX15" fmla="*/ 6980153 w 6980153"/>
                      <a:gd name="connsiteY15" fmla="*/ 1530221 h 3326567"/>
                      <a:gd name="connsiteX16" fmla="*/ 6980153 w 6980153"/>
                      <a:gd name="connsiteY16" fmla="*/ 2151180 h 3326567"/>
                      <a:gd name="connsiteX17" fmla="*/ 6980153 w 6980153"/>
                      <a:gd name="connsiteY17" fmla="*/ 2705608 h 3326567"/>
                      <a:gd name="connsiteX18" fmla="*/ 6980153 w 6980153"/>
                      <a:gd name="connsiteY18" fmla="*/ 3326567 h 3326567"/>
                      <a:gd name="connsiteX19" fmla="*/ 6468275 w 6980153"/>
                      <a:gd name="connsiteY19" fmla="*/ 3326567 h 3326567"/>
                      <a:gd name="connsiteX20" fmla="*/ 6026199 w 6980153"/>
                      <a:gd name="connsiteY20" fmla="*/ 3326567 h 3326567"/>
                      <a:gd name="connsiteX21" fmla="*/ 5304916 w 6980153"/>
                      <a:gd name="connsiteY21" fmla="*/ 3326567 h 3326567"/>
                      <a:gd name="connsiteX22" fmla="*/ 4723237 w 6980153"/>
                      <a:gd name="connsiteY22" fmla="*/ 3326567 h 3326567"/>
                      <a:gd name="connsiteX23" fmla="*/ 4350962 w 6980153"/>
                      <a:gd name="connsiteY23" fmla="*/ 3326567 h 3326567"/>
                      <a:gd name="connsiteX24" fmla="*/ 3769283 w 6980153"/>
                      <a:gd name="connsiteY24" fmla="*/ 3326567 h 3326567"/>
                      <a:gd name="connsiteX25" fmla="*/ 3257405 w 6980153"/>
                      <a:gd name="connsiteY25" fmla="*/ 3326567 h 3326567"/>
                      <a:gd name="connsiteX26" fmla="*/ 2745527 w 6980153"/>
                      <a:gd name="connsiteY26" fmla="*/ 3326567 h 3326567"/>
                      <a:gd name="connsiteX27" fmla="*/ 2233649 w 6980153"/>
                      <a:gd name="connsiteY27" fmla="*/ 3326567 h 3326567"/>
                      <a:gd name="connsiteX28" fmla="*/ 1721771 w 6980153"/>
                      <a:gd name="connsiteY28" fmla="*/ 3326567 h 3326567"/>
                      <a:gd name="connsiteX29" fmla="*/ 1070290 w 6980153"/>
                      <a:gd name="connsiteY29" fmla="*/ 3326567 h 3326567"/>
                      <a:gd name="connsiteX30" fmla="*/ 0 w 6980153"/>
                      <a:gd name="connsiteY30" fmla="*/ 3326567 h 3326567"/>
                      <a:gd name="connsiteX31" fmla="*/ 0 w 6980153"/>
                      <a:gd name="connsiteY31" fmla="*/ 2871936 h 3326567"/>
                      <a:gd name="connsiteX32" fmla="*/ 0 w 6980153"/>
                      <a:gd name="connsiteY32" fmla="*/ 2350774 h 3326567"/>
                      <a:gd name="connsiteX33" fmla="*/ 0 w 6980153"/>
                      <a:gd name="connsiteY33" fmla="*/ 1763081 h 3326567"/>
                      <a:gd name="connsiteX34" fmla="*/ 0 w 6980153"/>
                      <a:gd name="connsiteY34" fmla="*/ 1142121 h 3326567"/>
                      <a:gd name="connsiteX35" fmla="*/ 0 w 6980153"/>
                      <a:gd name="connsiteY35" fmla="*/ 687491 h 3326567"/>
                      <a:gd name="connsiteX36" fmla="*/ 0 w 6980153"/>
                      <a:gd name="connsiteY36" fmla="*/ 0 h 33265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</a:cxnLst>
                    <a:rect l="l" t="t" r="r" b="b"/>
                    <a:pathLst>
                      <a:path w="6980153" h="3326567" fill="none" extrusionOk="0">
                        <a:moveTo>
                          <a:pt x="0" y="0"/>
                        </a:moveTo>
                        <a:cubicBezTo>
                          <a:pt x="141474" y="-12492"/>
                          <a:pt x="371064" y="40397"/>
                          <a:pt x="511878" y="0"/>
                        </a:cubicBezTo>
                        <a:cubicBezTo>
                          <a:pt x="652692" y="-40397"/>
                          <a:pt x="934857" y="32646"/>
                          <a:pt x="1163359" y="0"/>
                        </a:cubicBezTo>
                        <a:cubicBezTo>
                          <a:pt x="1391861" y="-32646"/>
                          <a:pt x="1507694" y="34845"/>
                          <a:pt x="1605435" y="0"/>
                        </a:cubicBezTo>
                        <a:cubicBezTo>
                          <a:pt x="1703176" y="-34845"/>
                          <a:pt x="2044503" y="25264"/>
                          <a:pt x="2187115" y="0"/>
                        </a:cubicBezTo>
                        <a:cubicBezTo>
                          <a:pt x="2329727" y="-25264"/>
                          <a:pt x="2613051" y="30372"/>
                          <a:pt x="2838596" y="0"/>
                        </a:cubicBezTo>
                        <a:cubicBezTo>
                          <a:pt x="3064141" y="-30372"/>
                          <a:pt x="3125503" y="20419"/>
                          <a:pt x="3210870" y="0"/>
                        </a:cubicBezTo>
                        <a:cubicBezTo>
                          <a:pt x="3296237" y="-20419"/>
                          <a:pt x="3412881" y="21776"/>
                          <a:pt x="3583145" y="0"/>
                        </a:cubicBezTo>
                        <a:cubicBezTo>
                          <a:pt x="3753410" y="-21776"/>
                          <a:pt x="4129642" y="53066"/>
                          <a:pt x="4304428" y="0"/>
                        </a:cubicBezTo>
                        <a:cubicBezTo>
                          <a:pt x="4479214" y="-53066"/>
                          <a:pt x="4626584" y="57055"/>
                          <a:pt x="4886107" y="0"/>
                        </a:cubicBezTo>
                        <a:cubicBezTo>
                          <a:pt x="5145630" y="-57055"/>
                          <a:pt x="5138614" y="25555"/>
                          <a:pt x="5258382" y="0"/>
                        </a:cubicBezTo>
                        <a:cubicBezTo>
                          <a:pt x="5378151" y="-25555"/>
                          <a:pt x="5609382" y="9172"/>
                          <a:pt x="5840061" y="0"/>
                        </a:cubicBezTo>
                        <a:cubicBezTo>
                          <a:pt x="6070740" y="-9172"/>
                          <a:pt x="6598596" y="120587"/>
                          <a:pt x="6980153" y="0"/>
                        </a:cubicBezTo>
                        <a:cubicBezTo>
                          <a:pt x="7030342" y="185332"/>
                          <a:pt x="6920407" y="320304"/>
                          <a:pt x="6980153" y="521162"/>
                        </a:cubicBezTo>
                        <a:cubicBezTo>
                          <a:pt x="7039899" y="722020"/>
                          <a:pt x="6946457" y="864872"/>
                          <a:pt x="6980153" y="1075590"/>
                        </a:cubicBezTo>
                        <a:cubicBezTo>
                          <a:pt x="7013849" y="1286308"/>
                          <a:pt x="6937362" y="1316235"/>
                          <a:pt x="6980153" y="1530221"/>
                        </a:cubicBezTo>
                        <a:cubicBezTo>
                          <a:pt x="7022944" y="1744207"/>
                          <a:pt x="6919220" y="1946641"/>
                          <a:pt x="6980153" y="2151180"/>
                        </a:cubicBezTo>
                        <a:cubicBezTo>
                          <a:pt x="7041086" y="2355719"/>
                          <a:pt x="6949738" y="2504084"/>
                          <a:pt x="6980153" y="2705608"/>
                        </a:cubicBezTo>
                        <a:cubicBezTo>
                          <a:pt x="7010568" y="2907132"/>
                          <a:pt x="6920248" y="3163579"/>
                          <a:pt x="6980153" y="3326567"/>
                        </a:cubicBezTo>
                        <a:cubicBezTo>
                          <a:pt x="6784494" y="3357173"/>
                          <a:pt x="6622605" y="3321608"/>
                          <a:pt x="6468275" y="3326567"/>
                        </a:cubicBezTo>
                        <a:cubicBezTo>
                          <a:pt x="6313945" y="3331526"/>
                          <a:pt x="6136578" y="3281359"/>
                          <a:pt x="6026199" y="3326567"/>
                        </a:cubicBezTo>
                        <a:cubicBezTo>
                          <a:pt x="5915820" y="3371775"/>
                          <a:pt x="5493880" y="3247007"/>
                          <a:pt x="5304916" y="3326567"/>
                        </a:cubicBezTo>
                        <a:cubicBezTo>
                          <a:pt x="5115952" y="3406127"/>
                          <a:pt x="4979789" y="3309488"/>
                          <a:pt x="4723237" y="3326567"/>
                        </a:cubicBezTo>
                        <a:cubicBezTo>
                          <a:pt x="4466685" y="3343646"/>
                          <a:pt x="4427202" y="3290966"/>
                          <a:pt x="4350962" y="3326567"/>
                        </a:cubicBezTo>
                        <a:cubicBezTo>
                          <a:pt x="4274723" y="3362168"/>
                          <a:pt x="3984878" y="3321274"/>
                          <a:pt x="3769283" y="3326567"/>
                        </a:cubicBezTo>
                        <a:cubicBezTo>
                          <a:pt x="3553688" y="3331860"/>
                          <a:pt x="3432978" y="3274900"/>
                          <a:pt x="3257405" y="3326567"/>
                        </a:cubicBezTo>
                        <a:cubicBezTo>
                          <a:pt x="3081832" y="3378234"/>
                          <a:pt x="2925549" y="3310292"/>
                          <a:pt x="2745527" y="3326567"/>
                        </a:cubicBezTo>
                        <a:cubicBezTo>
                          <a:pt x="2565505" y="3342842"/>
                          <a:pt x="2339606" y="3314594"/>
                          <a:pt x="2233649" y="3326567"/>
                        </a:cubicBezTo>
                        <a:cubicBezTo>
                          <a:pt x="2127692" y="3338540"/>
                          <a:pt x="1825575" y="3275797"/>
                          <a:pt x="1721771" y="3326567"/>
                        </a:cubicBezTo>
                        <a:cubicBezTo>
                          <a:pt x="1617967" y="3377337"/>
                          <a:pt x="1353945" y="3265261"/>
                          <a:pt x="1070290" y="3326567"/>
                        </a:cubicBezTo>
                        <a:cubicBezTo>
                          <a:pt x="786635" y="3387873"/>
                          <a:pt x="425019" y="3315397"/>
                          <a:pt x="0" y="3326567"/>
                        </a:cubicBezTo>
                        <a:cubicBezTo>
                          <a:pt x="-54544" y="3213401"/>
                          <a:pt x="44671" y="3029472"/>
                          <a:pt x="0" y="2871936"/>
                        </a:cubicBezTo>
                        <a:cubicBezTo>
                          <a:pt x="-44671" y="2714400"/>
                          <a:pt x="1100" y="2470013"/>
                          <a:pt x="0" y="2350774"/>
                        </a:cubicBezTo>
                        <a:cubicBezTo>
                          <a:pt x="-1100" y="2231535"/>
                          <a:pt x="44075" y="1966321"/>
                          <a:pt x="0" y="1763081"/>
                        </a:cubicBezTo>
                        <a:cubicBezTo>
                          <a:pt x="-44075" y="1559841"/>
                          <a:pt x="73563" y="1437133"/>
                          <a:pt x="0" y="1142121"/>
                        </a:cubicBezTo>
                        <a:cubicBezTo>
                          <a:pt x="-73563" y="847109"/>
                          <a:pt x="40617" y="834569"/>
                          <a:pt x="0" y="687491"/>
                        </a:cubicBezTo>
                        <a:cubicBezTo>
                          <a:pt x="-40617" y="540413"/>
                          <a:pt x="13416" y="242901"/>
                          <a:pt x="0" y="0"/>
                        </a:cubicBezTo>
                        <a:close/>
                      </a:path>
                      <a:path w="6980153" h="3326567" stroke="0" extrusionOk="0">
                        <a:moveTo>
                          <a:pt x="0" y="0"/>
                        </a:moveTo>
                        <a:cubicBezTo>
                          <a:pt x="140271" y="-7780"/>
                          <a:pt x="340304" y="30077"/>
                          <a:pt x="511878" y="0"/>
                        </a:cubicBezTo>
                        <a:cubicBezTo>
                          <a:pt x="683452" y="-30077"/>
                          <a:pt x="712449" y="41726"/>
                          <a:pt x="884153" y="0"/>
                        </a:cubicBezTo>
                        <a:cubicBezTo>
                          <a:pt x="1055858" y="-41726"/>
                          <a:pt x="1248460" y="59155"/>
                          <a:pt x="1605435" y="0"/>
                        </a:cubicBezTo>
                        <a:cubicBezTo>
                          <a:pt x="1962410" y="-59155"/>
                          <a:pt x="1870799" y="1800"/>
                          <a:pt x="2117313" y="0"/>
                        </a:cubicBezTo>
                        <a:cubicBezTo>
                          <a:pt x="2363827" y="-1800"/>
                          <a:pt x="2393948" y="19836"/>
                          <a:pt x="2629191" y="0"/>
                        </a:cubicBezTo>
                        <a:cubicBezTo>
                          <a:pt x="2864434" y="-19836"/>
                          <a:pt x="3130240" y="44661"/>
                          <a:pt x="3350473" y="0"/>
                        </a:cubicBezTo>
                        <a:cubicBezTo>
                          <a:pt x="3570706" y="-44661"/>
                          <a:pt x="3579282" y="52768"/>
                          <a:pt x="3792550" y="0"/>
                        </a:cubicBezTo>
                        <a:cubicBezTo>
                          <a:pt x="4005818" y="-52768"/>
                          <a:pt x="4310171" y="60080"/>
                          <a:pt x="4513832" y="0"/>
                        </a:cubicBezTo>
                        <a:cubicBezTo>
                          <a:pt x="4717493" y="-60080"/>
                          <a:pt x="5010132" y="16945"/>
                          <a:pt x="5235115" y="0"/>
                        </a:cubicBezTo>
                        <a:cubicBezTo>
                          <a:pt x="5460098" y="-16945"/>
                          <a:pt x="5608744" y="41140"/>
                          <a:pt x="5816794" y="0"/>
                        </a:cubicBezTo>
                        <a:cubicBezTo>
                          <a:pt x="6024844" y="-41140"/>
                          <a:pt x="6411253" y="93204"/>
                          <a:pt x="6980153" y="0"/>
                        </a:cubicBezTo>
                        <a:cubicBezTo>
                          <a:pt x="7029711" y="233693"/>
                          <a:pt x="6933795" y="323603"/>
                          <a:pt x="6980153" y="521162"/>
                        </a:cubicBezTo>
                        <a:cubicBezTo>
                          <a:pt x="7026511" y="718721"/>
                          <a:pt x="6952536" y="853447"/>
                          <a:pt x="6980153" y="975793"/>
                        </a:cubicBezTo>
                        <a:cubicBezTo>
                          <a:pt x="7007770" y="1098139"/>
                          <a:pt x="6937412" y="1337916"/>
                          <a:pt x="6980153" y="1530221"/>
                        </a:cubicBezTo>
                        <a:cubicBezTo>
                          <a:pt x="7022894" y="1722526"/>
                          <a:pt x="6955227" y="1933597"/>
                          <a:pt x="6980153" y="2084649"/>
                        </a:cubicBezTo>
                        <a:cubicBezTo>
                          <a:pt x="7005079" y="2235701"/>
                          <a:pt x="6966647" y="2496606"/>
                          <a:pt x="6980153" y="2639076"/>
                        </a:cubicBezTo>
                        <a:cubicBezTo>
                          <a:pt x="6993659" y="2781546"/>
                          <a:pt x="6918767" y="3038479"/>
                          <a:pt x="6980153" y="3326567"/>
                        </a:cubicBezTo>
                        <a:cubicBezTo>
                          <a:pt x="6779240" y="3393498"/>
                          <a:pt x="6528926" y="3284679"/>
                          <a:pt x="6328672" y="3326567"/>
                        </a:cubicBezTo>
                        <a:cubicBezTo>
                          <a:pt x="6128418" y="3368455"/>
                          <a:pt x="6136818" y="3286879"/>
                          <a:pt x="5956397" y="3326567"/>
                        </a:cubicBezTo>
                        <a:cubicBezTo>
                          <a:pt x="5775977" y="3366255"/>
                          <a:pt x="5651704" y="3302221"/>
                          <a:pt x="5514321" y="3326567"/>
                        </a:cubicBezTo>
                        <a:cubicBezTo>
                          <a:pt x="5376938" y="3350913"/>
                          <a:pt x="5021531" y="3251271"/>
                          <a:pt x="4793038" y="3326567"/>
                        </a:cubicBezTo>
                        <a:cubicBezTo>
                          <a:pt x="4564545" y="3401863"/>
                          <a:pt x="4330167" y="3299290"/>
                          <a:pt x="4211359" y="3326567"/>
                        </a:cubicBezTo>
                        <a:cubicBezTo>
                          <a:pt x="4092551" y="3353844"/>
                          <a:pt x="3953997" y="3317047"/>
                          <a:pt x="3769283" y="3326567"/>
                        </a:cubicBezTo>
                        <a:cubicBezTo>
                          <a:pt x="3584569" y="3336087"/>
                          <a:pt x="3314969" y="3316691"/>
                          <a:pt x="3187603" y="3326567"/>
                        </a:cubicBezTo>
                        <a:cubicBezTo>
                          <a:pt x="3060237" y="3336443"/>
                          <a:pt x="2934870" y="3325994"/>
                          <a:pt x="2815328" y="3326567"/>
                        </a:cubicBezTo>
                        <a:cubicBezTo>
                          <a:pt x="2695787" y="3327140"/>
                          <a:pt x="2554187" y="3315589"/>
                          <a:pt x="2443054" y="3326567"/>
                        </a:cubicBezTo>
                        <a:cubicBezTo>
                          <a:pt x="2331921" y="3337545"/>
                          <a:pt x="2100862" y="3265370"/>
                          <a:pt x="1861374" y="3326567"/>
                        </a:cubicBezTo>
                        <a:cubicBezTo>
                          <a:pt x="1621886" y="3387764"/>
                          <a:pt x="1516106" y="3314359"/>
                          <a:pt x="1419298" y="3326567"/>
                        </a:cubicBezTo>
                        <a:cubicBezTo>
                          <a:pt x="1322490" y="3338775"/>
                          <a:pt x="982784" y="3315115"/>
                          <a:pt x="767817" y="3326567"/>
                        </a:cubicBezTo>
                        <a:cubicBezTo>
                          <a:pt x="552850" y="3338019"/>
                          <a:pt x="307318" y="3253943"/>
                          <a:pt x="0" y="3326567"/>
                        </a:cubicBezTo>
                        <a:cubicBezTo>
                          <a:pt x="-41842" y="3091361"/>
                          <a:pt x="11279" y="2878143"/>
                          <a:pt x="0" y="2738873"/>
                        </a:cubicBezTo>
                        <a:cubicBezTo>
                          <a:pt x="-11279" y="2599603"/>
                          <a:pt x="53793" y="2342293"/>
                          <a:pt x="0" y="2151180"/>
                        </a:cubicBezTo>
                        <a:cubicBezTo>
                          <a:pt x="-53793" y="1960067"/>
                          <a:pt x="17977" y="1850798"/>
                          <a:pt x="0" y="1663284"/>
                        </a:cubicBezTo>
                        <a:cubicBezTo>
                          <a:pt x="-17977" y="1475770"/>
                          <a:pt x="59982" y="1303545"/>
                          <a:pt x="0" y="1075590"/>
                        </a:cubicBezTo>
                        <a:cubicBezTo>
                          <a:pt x="-59982" y="847635"/>
                          <a:pt x="125572" y="409002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</p:pic>
    </p:spTree>
    <p:extLst>
      <p:ext uri="{BB962C8B-B14F-4D97-AF65-F5344CB8AC3E}">
        <p14:creationId xmlns:p14="http://schemas.microsoft.com/office/powerpoint/2010/main" val="37134879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AAAD84-FC90-4559-8CE0-B98D073B65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625CF7A-744B-4D16-9849-4EFCC831D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ynchrone Kommunikation : HTTP Request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200AEFB-9967-45DA-8A70-5DB0DE921B0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6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FB570F9-91F6-4813-9B0A-9B89BAC606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94D7276-0325-430A-9BDB-BF91992FCE8E}"/>
              </a:ext>
            </a:extLst>
          </p:cNvPr>
          <p:cNvSpPr txBox="1"/>
          <p:nvPr/>
        </p:nvSpPr>
        <p:spPr>
          <a:xfrm>
            <a:off x="5454650" y="1919080"/>
            <a:ext cx="1784350" cy="830997"/>
          </a:xfrm>
          <a:prstGeom prst="rect">
            <a:avLst/>
          </a:prstGeom>
          <a:solidFill>
            <a:srgbClr val="2C00E6"/>
          </a:solidFill>
          <a:ln w="50800" cap="rnd">
            <a:solidFill>
              <a:srgbClr val="2800D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AlarmIT</a:t>
            </a:r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sz="2000" dirty="0">
                <a:solidFill>
                  <a:schemeClr val="bg1"/>
                </a:solidFill>
              </a:rPr>
              <a:t>Instanz 1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384A86B-939D-4CFD-B899-B0EB413E336E}"/>
              </a:ext>
            </a:extLst>
          </p:cNvPr>
          <p:cNvSpPr txBox="1"/>
          <p:nvPr/>
        </p:nvSpPr>
        <p:spPr>
          <a:xfrm>
            <a:off x="5454650" y="3118968"/>
            <a:ext cx="1784350" cy="830997"/>
          </a:xfrm>
          <a:prstGeom prst="rect">
            <a:avLst/>
          </a:prstGeom>
          <a:solidFill>
            <a:srgbClr val="2C00E6"/>
          </a:solidFill>
          <a:ln w="50800" cap="rnd">
            <a:solidFill>
              <a:srgbClr val="2800D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AlarmIT</a:t>
            </a:r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sz="2000" dirty="0">
                <a:solidFill>
                  <a:schemeClr val="bg1"/>
                </a:solidFill>
              </a:rPr>
              <a:t>Instanz 2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49F0C46-789D-4B61-AD3C-C19883A5B464}"/>
              </a:ext>
            </a:extLst>
          </p:cNvPr>
          <p:cNvSpPr/>
          <p:nvPr/>
        </p:nvSpPr>
        <p:spPr>
          <a:xfrm>
            <a:off x="4368800" y="1550189"/>
            <a:ext cx="3132000" cy="2742411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DB31F2EB-1928-4D5A-895B-E6DB7F0FB14A}"/>
              </a:ext>
            </a:extLst>
          </p:cNvPr>
          <p:cNvSpPr/>
          <p:nvPr/>
        </p:nvSpPr>
        <p:spPr>
          <a:xfrm>
            <a:off x="1329928" y="2640883"/>
            <a:ext cx="1847850" cy="561021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HTTP Request</a:t>
            </a:r>
          </a:p>
        </p:txBody>
      </p:sp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64E43500-A74E-4A93-8510-8223D1D8C053}"/>
              </a:ext>
            </a:extLst>
          </p:cNvPr>
          <p:cNvSpPr/>
          <p:nvPr/>
        </p:nvSpPr>
        <p:spPr>
          <a:xfrm>
            <a:off x="3500815" y="2847486"/>
            <a:ext cx="272473" cy="158750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Pfeil: nach rechts 18">
            <a:extLst>
              <a:ext uri="{FF2B5EF4-FFF2-40B4-BE49-F238E27FC236}">
                <a16:creationId xmlns:a16="http://schemas.microsoft.com/office/drawing/2014/main" id="{7CC0831B-C0F3-4199-B12F-EBB26D750B03}"/>
              </a:ext>
            </a:extLst>
          </p:cNvPr>
          <p:cNvSpPr/>
          <p:nvPr/>
        </p:nvSpPr>
        <p:spPr>
          <a:xfrm rot="19935346">
            <a:off x="4678617" y="2483433"/>
            <a:ext cx="272473" cy="158750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078" name="Picture 6" descr="Was ist Docker? | AWS">
            <a:extLst>
              <a:ext uri="{FF2B5EF4-FFF2-40B4-BE49-F238E27FC236}">
                <a16:creationId xmlns:a16="http://schemas.microsoft.com/office/drawing/2014/main" id="{9DDDE059-06DF-469F-A419-D7C6630B93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4348" y="1569234"/>
            <a:ext cx="1272061" cy="597276"/>
          </a:xfrm>
          <a:prstGeom prst="rect">
            <a:avLst/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0513A2BF-86AD-40DD-B0EF-9A66675B72B1}"/>
              </a:ext>
            </a:extLst>
          </p:cNvPr>
          <p:cNvSpPr txBox="1"/>
          <p:nvPr/>
        </p:nvSpPr>
        <p:spPr>
          <a:xfrm>
            <a:off x="692524" y="779929"/>
            <a:ext cx="72076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raktisches Beispiel: https://github.com/shs-it/VerarbeitungsCounter#http-request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816EC60-E318-4712-862E-72D5B1DBCDE3}"/>
              </a:ext>
            </a:extLst>
          </p:cNvPr>
          <p:cNvSpPr txBox="1"/>
          <p:nvPr/>
        </p:nvSpPr>
        <p:spPr>
          <a:xfrm>
            <a:off x="4051575" y="2659783"/>
            <a:ext cx="583362" cy="523220"/>
          </a:xfrm>
          <a:prstGeom prst="rect">
            <a:avLst/>
          </a:prstGeom>
          <a:solidFill>
            <a:schemeClr val="bg1"/>
          </a:solidFill>
          <a:ln w="19050">
            <a:solidFill>
              <a:srgbClr val="20BEFF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/>
              <a:t>Port: 7666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17339A1-C163-4CA0-8710-8D31889B5300}"/>
              </a:ext>
            </a:extLst>
          </p:cNvPr>
          <p:cNvSpPr txBox="1"/>
          <p:nvPr/>
        </p:nvSpPr>
        <p:spPr>
          <a:xfrm>
            <a:off x="4931969" y="2024965"/>
            <a:ext cx="628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ort: 7500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8FB8F92E-F759-4C21-A22B-F8151EA88CF9}"/>
              </a:ext>
            </a:extLst>
          </p:cNvPr>
          <p:cNvSpPr txBox="1"/>
          <p:nvPr/>
        </p:nvSpPr>
        <p:spPr>
          <a:xfrm>
            <a:off x="4951075" y="3268564"/>
            <a:ext cx="628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ort: 7500</a:t>
            </a:r>
          </a:p>
        </p:txBody>
      </p:sp>
    </p:spTree>
    <p:extLst>
      <p:ext uri="{BB962C8B-B14F-4D97-AF65-F5344CB8AC3E}">
        <p14:creationId xmlns:p14="http://schemas.microsoft.com/office/powerpoint/2010/main" val="16527323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5" grpId="0" animBg="1"/>
      <p:bldP spid="17" grpId="0" animBg="1"/>
      <p:bldP spid="1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llinger_Saarstahl_SHS_Stahl-Holding-Saar_16zu9">
  <a:themeElements>
    <a:clrScheme name="SAG-DH-Mix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C6707"/>
      </a:accent1>
      <a:accent2>
        <a:srgbClr val="00628A"/>
      </a:accent2>
      <a:accent3>
        <a:srgbClr val="AF1B67"/>
      </a:accent3>
      <a:accent4>
        <a:srgbClr val="FDC300"/>
      </a:accent4>
      <a:accent5>
        <a:srgbClr val="008000"/>
      </a:accent5>
      <a:accent6>
        <a:srgbClr val="7D7D7D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nternehmenspräsenation2020_Dillinger_Saarstahl_Stand_16zu9_200817" id="{08637ECF-655B-654B-BA72-F9B346294893}" vid="{9284C7CB-B7B1-9D4D-9C80-2612D52B34E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illinger_Saarstahl_SHS_Stahl-Holding-Saar_16zu9</Template>
  <TotalTime>0</TotalTime>
  <Words>307</Words>
  <Application>Microsoft Office PowerPoint</Application>
  <PresentationFormat>Bildschirmpräsentation (16:9)</PresentationFormat>
  <Paragraphs>116</Paragraphs>
  <Slides>15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1" baseType="lpstr">
      <vt:lpstr>Arial</vt:lpstr>
      <vt:lpstr>Calibri</vt:lpstr>
      <vt:lpstr>Helvetica</vt:lpstr>
      <vt:lpstr>Wingdings</vt:lpstr>
      <vt:lpstr>Dillinger_Saarstahl_SHS_Stahl-Holding-Saar_16zu9</vt:lpstr>
      <vt:lpstr>think-cell Folie</vt:lpstr>
      <vt:lpstr>PowerPoint-Präsentation</vt:lpstr>
      <vt:lpstr>Verteilte Systeme</vt:lpstr>
      <vt:lpstr>AlarmIT</vt:lpstr>
      <vt:lpstr>AlarmIT ist ein einfaches verteiltes System</vt:lpstr>
      <vt:lpstr>Abgrenzung des Kontextes durch Docker</vt:lpstr>
      <vt:lpstr>Besondere Eigenschaft von AlarmIT</vt:lpstr>
      <vt:lpstr>Workshop Thematik</vt:lpstr>
      <vt:lpstr>Praktischer Teil</vt:lpstr>
      <vt:lpstr>Synchrone Kommunikation : HTTP Request</vt:lpstr>
      <vt:lpstr>Asynchrone Kommunikation : point-to-point</vt:lpstr>
      <vt:lpstr>Asynchrone Kommunikation : publish/subscribe</vt:lpstr>
      <vt:lpstr>Szenario : Virtual Topic</vt:lpstr>
      <vt:lpstr>Welche Kommunikationsart ist am besten für AlarmIT geeignet?</vt:lpstr>
      <vt:lpstr>PowerPoint-Präsentation</vt:lpstr>
      <vt:lpstr>Feedback Please</vt:lpstr>
    </vt:vector>
  </TitlesOfParts>
  <Company>D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LANTA, Jeremie</dc:creator>
  <cp:lastModifiedBy>Jeremie Planta</cp:lastModifiedBy>
  <cp:revision>96</cp:revision>
  <dcterms:created xsi:type="dcterms:W3CDTF">2022-08-25T06:50:03Z</dcterms:created>
  <dcterms:modified xsi:type="dcterms:W3CDTF">2022-09-16T04:34:18Z</dcterms:modified>
</cp:coreProperties>
</file>